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1474" r:id="rId2"/>
    <p:sldId id="1864" r:id="rId3"/>
    <p:sldId id="1874" r:id="rId4"/>
    <p:sldId id="1879" r:id="rId5"/>
    <p:sldId id="1875" r:id="rId6"/>
    <p:sldId id="1876" r:id="rId7"/>
    <p:sldId id="1880" r:id="rId8"/>
    <p:sldId id="1862" r:id="rId9"/>
    <p:sldId id="1867" r:id="rId10"/>
    <p:sldId id="1882" r:id="rId11"/>
    <p:sldId id="1828" r:id="rId12"/>
  </p:sldIdLst>
  <p:sldSz cx="9144000" cy="5143500" type="screen16x9"/>
  <p:notesSz cx="6797675" cy="9925050"/>
  <p:embeddedFontLst>
    <p:embeddedFont>
      <p:font typeface="Arial Narrow" pitchFamily="34" charset="0"/>
      <p:regular r:id="rId15"/>
      <p:bold r:id="rId16"/>
      <p:italic r:id="rId17"/>
      <p:boldItalic r:id="rId18"/>
    </p:embeddedFont>
    <p:embeddedFont>
      <p:font typeface="Calibri" pitchFamily="34" charset="0"/>
      <p:regular r:id="rId19"/>
      <p:bold r:id="rId20"/>
      <p:italic r:id="rId21"/>
      <p:boldItalic r:id="rId22"/>
    </p:embeddedFont>
    <p:embeddedFont>
      <p:font typeface="Century Gothic" pitchFamily="34" charset="0"/>
      <p:regular r:id="rId23"/>
      <p:bold r:id="rId24"/>
      <p:italic r:id="rId25"/>
      <p:boldItalic r:id="rId26"/>
    </p:embeddedFont>
    <p:embeddedFont>
      <p:font typeface="ＭＳ Ｐゴシック" pitchFamily="34" charset="-128"/>
      <p:regular r:id="rId27"/>
    </p:embeddedFont>
    <p:embeddedFont>
      <p:font typeface="Roboto Condensed" charset="0"/>
      <p:regular r:id="rId28"/>
      <p:bold r:id="rId29"/>
      <p:italic r:id="rId30"/>
      <p:boldItalic r:id="rId31"/>
    </p:embeddedFont>
    <p:embeddedFont>
      <p:font typeface="Roboto Medium" charset="0"/>
      <p:regular r:id="rId32"/>
      <p:bold r:id="rId33"/>
      <p:italic r:id="rId34"/>
      <p:boldItalic r:id="rId3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1C20F2B0-C59E-4667-BC9B-06653499CD35}">
          <p14:sldIdLst>
            <p14:sldId id="1474"/>
            <p14:sldId id="1864"/>
            <p14:sldId id="1874"/>
            <p14:sldId id="1879"/>
            <p14:sldId id="1875"/>
            <p14:sldId id="1876"/>
            <p14:sldId id="1880"/>
            <p14:sldId id="1862"/>
            <p14:sldId id="1867"/>
            <p14:sldId id="1882"/>
            <p14:sldId id="1828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144" userDrawn="1">
          <p15:clr>
            <a:srgbClr val="A4A3A4"/>
          </p15:clr>
        </p15:guide>
        <p15:guide id="2" pos="113" userDrawn="1">
          <p15:clr>
            <a:srgbClr val="A4A3A4"/>
          </p15:clr>
        </p15:guide>
        <p15:guide id="3" pos="5647" userDrawn="1">
          <p15:clr>
            <a:srgbClr val="A4A3A4"/>
          </p15:clr>
        </p15:guide>
        <p15:guide id="4" orient="horz" pos="2391" userDrawn="1">
          <p15:clr>
            <a:srgbClr val="A4A3A4"/>
          </p15:clr>
        </p15:guide>
        <p15:guide id="5" orient="horz" pos="2255" userDrawn="1">
          <p15:clr>
            <a:srgbClr val="A4A3A4"/>
          </p15:clr>
        </p15:guide>
        <p15:guide id="8" pos="3651" userDrawn="1">
          <p15:clr>
            <a:srgbClr val="A4A3A4"/>
          </p15:clr>
        </p15:guide>
        <p15:guide id="9" orient="horz" pos="78" userDrawn="1">
          <p15:clr>
            <a:srgbClr val="A4A3A4"/>
          </p15:clr>
        </p15:guide>
        <p15:guide id="10" orient="horz" pos="1620" userDrawn="1">
          <p15:clr>
            <a:srgbClr val="A4A3A4"/>
          </p15:clr>
        </p15:guide>
        <p15:guide id="11" orient="horz" pos="316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83" userDrawn="1">
          <p15:clr>
            <a:srgbClr val="A4A3A4"/>
          </p15:clr>
        </p15:guide>
        <p15:guide id="2" pos="2127" userDrawn="1">
          <p15:clr>
            <a:srgbClr val="A4A3A4"/>
          </p15:clr>
        </p15:guide>
        <p15:guide id="3" orient="horz" pos="3106" userDrawn="1">
          <p15:clr>
            <a:srgbClr val="A4A3A4"/>
          </p15:clr>
        </p15:guide>
        <p15:guide id="4" pos="2135" userDrawn="1">
          <p15:clr>
            <a:srgbClr val="A4A3A4"/>
          </p15:clr>
        </p15:guide>
        <p15:guide id="5" orient="horz" pos="3104" userDrawn="1">
          <p15:clr>
            <a:srgbClr val="A4A3A4"/>
          </p15:clr>
        </p15:guide>
        <p15:guide id="6" orient="horz" pos="3126" userDrawn="1">
          <p15:clr>
            <a:srgbClr val="A4A3A4"/>
          </p15:clr>
        </p15:guide>
        <p15:guide id="7" pos="2133" userDrawn="1">
          <p15:clr>
            <a:srgbClr val="A4A3A4"/>
          </p15:clr>
        </p15:guide>
        <p15:guide id="8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8E"/>
    <a:srgbClr val="F19233"/>
    <a:srgbClr val="E8E43C"/>
    <a:srgbClr val="95C7F1"/>
    <a:srgbClr val="D3A33B"/>
    <a:srgbClr val="FFFF7D"/>
    <a:srgbClr val="DFDA00"/>
    <a:srgbClr val="4B5BB5"/>
    <a:srgbClr val="7C5310"/>
    <a:srgbClr val="0919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0" autoAdjust="0"/>
    <p:restoredTop sz="96374" autoAdjust="0"/>
  </p:normalViewPr>
  <p:slideViewPr>
    <p:cSldViewPr>
      <p:cViewPr>
        <p:scale>
          <a:sx n="104" d="100"/>
          <a:sy n="104" d="100"/>
        </p:scale>
        <p:origin x="-672" y="228"/>
      </p:cViewPr>
      <p:guideLst>
        <p:guide orient="horz" pos="144"/>
        <p:guide orient="horz" pos="2391"/>
        <p:guide orient="horz" pos="2255"/>
        <p:guide orient="horz" pos="78"/>
        <p:guide orient="horz" pos="1620"/>
        <p:guide orient="horz" pos="3162"/>
        <p:guide pos="113"/>
        <p:guide pos="5647"/>
        <p:guide pos="365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" d="100"/>
        <a:sy n="20" d="100"/>
      </p:scale>
      <p:origin x="0" y="1314"/>
    </p:cViewPr>
  </p:sorterViewPr>
  <p:notesViewPr>
    <p:cSldViewPr>
      <p:cViewPr varScale="1">
        <p:scale>
          <a:sx n="56" d="100"/>
          <a:sy n="56" d="100"/>
        </p:scale>
        <p:origin x="-2886" y="-102"/>
      </p:cViewPr>
      <p:guideLst>
        <p:guide orient="horz" pos="3083"/>
        <p:guide orient="horz" pos="3106"/>
        <p:guide orient="horz" pos="3104"/>
        <p:guide orient="horz" pos="3126"/>
        <p:guide pos="2127"/>
        <p:guide pos="2135"/>
        <p:guide pos="2133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34" Type="http://schemas.openxmlformats.org/officeDocument/2006/relationships/font" Target="fonts/font20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font" Target="fonts/font19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32" Type="http://schemas.openxmlformats.org/officeDocument/2006/relationships/font" Target="fonts/font18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font" Target="fonts/font21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82876171763218E-2"/>
          <c:y val="6.1189346308460055E-2"/>
          <c:w val="0.93634247656473568"/>
          <c:h val="0.7386306346554482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ждевание</c:v>
                </c:pt>
              </c:strCache>
            </c:strRef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19050">
                <a:solidFill>
                  <a:schemeClr val="bg1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6.5447802596163215E-2"/>
                  <c:y val="-3.63337897096401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ПЛАН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5.7</c:v>
                </c:pt>
                <c:pt idx="1">
                  <c:v>97.4</c:v>
                </c:pt>
                <c:pt idx="2">
                  <c:v>100.5</c:v>
                </c:pt>
                <c:pt idx="3">
                  <c:v>121.95</c:v>
                </c:pt>
                <c:pt idx="4">
                  <c:v>160.80000000000001</c:v>
                </c:pt>
                <c:pt idx="5">
                  <c:v>161.1</c:v>
                </c:pt>
                <c:pt idx="6">
                  <c:v>185</c:v>
                </c:pt>
                <c:pt idx="7">
                  <c:v>200.2</c:v>
                </c:pt>
                <c:pt idx="8">
                  <c:v>21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B642-44C5-BE1A-D648A9D2DD7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пельное орошение</c:v>
                </c:pt>
              </c:strCache>
            </c:strRef>
          </c:tx>
          <c:spPr>
            <a:ln w="50800" cap="rnd">
              <a:solidFill>
                <a:srgbClr val="00518E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518E"/>
              </a:solidFill>
              <a:ln w="50800" cmpd="dbl">
                <a:solidFill>
                  <a:schemeClr val="bg2"/>
                </a:solidFill>
              </a:ln>
              <a:effectLst/>
            </c:spPr>
          </c:marker>
          <c:dLbls>
            <c:dLbl>
              <c:idx val="4"/>
              <c:layout>
                <c:manualLayout>
                  <c:x val="-4.3019794511775462E-2"/>
                  <c:y val="3.4282751262931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0716799054546354E-2"/>
                      <c:h val="8.5334187674237741E-2"/>
                    </c:manualLayout>
                  </c15:layout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8,4</a:t>
                    </a:r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 (ПЛАН)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0">
                  <c:v>60.8</c:v>
                </c:pt>
                <c:pt idx="1">
                  <c:v>72.900000000000006</c:v>
                </c:pt>
                <c:pt idx="2">
                  <c:v>82.8</c:v>
                </c:pt>
                <c:pt idx="3">
                  <c:v>93.6</c:v>
                </c:pt>
                <c:pt idx="4">
                  <c:v>49.8</c:v>
                </c:pt>
                <c:pt idx="5">
                  <c:v>60.4</c:v>
                </c:pt>
                <c:pt idx="6">
                  <c:v>73</c:v>
                </c:pt>
                <c:pt idx="7">
                  <c:v>78.8</c:v>
                </c:pt>
                <c:pt idx="8">
                  <c:v>95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B642-44C5-BE1A-D648A9D2DD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194304"/>
        <c:axId val="51430144"/>
      </c:lineChart>
      <c:catAx>
        <c:axId val="50194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1200">
                <a:solidFill>
                  <a:schemeClr val="bg1">
                    <a:lumMod val="50000"/>
                  </a:schemeClr>
                </a:solidFill>
              </a:defRPr>
            </a:pPr>
            <a:endParaRPr lang="ru-RU"/>
          </a:p>
        </c:txPr>
        <c:crossAx val="51430144"/>
        <c:crosses val="autoZero"/>
        <c:auto val="1"/>
        <c:lblAlgn val="ctr"/>
        <c:lblOffset val="100"/>
        <c:noMultiLvlLbl val="0"/>
      </c:catAx>
      <c:valAx>
        <c:axId val="514301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0194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9544663329286518E-4"/>
          <c:y val="0.91287067329146054"/>
          <c:w val="0.9963154278131886"/>
          <c:h val="8.7129326708539581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+mn-lt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732082432489087E-2"/>
          <c:y val="0.12795422729561293"/>
          <c:w val="0.87154530106744943"/>
          <c:h val="0.7091863728611779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спользуемая площадь, тыс. га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300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91925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  <c:pt idx="0">
                  <c:v>2021</c:v>
                </c:pt>
                <c:pt idx="2">
                  <c:v>2022</c:v>
                </c:pt>
                <c:pt idx="4">
                  <c:v>2023</c:v>
                </c:pt>
                <c:pt idx="6">
                  <c:v>2025</c:v>
                </c:pt>
                <c:pt idx="8">
                  <c:v>2030</c:v>
                </c:pt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 formatCode="#\ ##0.0">
                  <c:v>258</c:v>
                </c:pt>
                <c:pt idx="2" formatCode="#\ ##0.0">
                  <c:v>279</c:v>
                </c:pt>
                <c:pt idx="4" formatCode="#\ ##0.0">
                  <c:v>309</c:v>
                </c:pt>
                <c:pt idx="6" formatCode="#\ ##0.0">
                  <c:v>450</c:v>
                </c:pt>
                <c:pt idx="8">
                  <c:v>750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5"/>
        <c:overlap val="-9"/>
        <c:axId val="52964736"/>
        <c:axId val="52979968"/>
      </c:barChart>
      <c:catAx>
        <c:axId val="52964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979968"/>
        <c:crosses val="autoZero"/>
        <c:auto val="1"/>
        <c:lblAlgn val="ctr"/>
        <c:lblOffset val="100"/>
        <c:noMultiLvlLbl val="0"/>
      </c:catAx>
      <c:valAx>
        <c:axId val="52979968"/>
        <c:scaling>
          <c:orientation val="minMax"/>
        </c:scaling>
        <c:delete val="1"/>
        <c:axPos val="l"/>
        <c:numFmt formatCode="#\ ##0.0" sourceLinked="1"/>
        <c:majorTickMark val="none"/>
        <c:minorTickMark val="none"/>
        <c:tickLblPos val="nextTo"/>
        <c:crossAx val="52964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569EE601-35A1-4728-BC0E-214E4BEED47A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D43E2597-EFF9-4FB6-A4C3-76B948BA753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/>
          <a:lstStyle>
            <a:lvl1pPr algn="r">
              <a:defRPr sz="1200"/>
            </a:lvl1pPr>
          </a:lstStyle>
          <a:p>
            <a:fld id="{48B91EE8-69AE-461D-8CCB-C9DF5AEE5592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2950"/>
            <a:ext cx="661987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964" tIns="45983" rIns="91964" bIns="4598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4400"/>
            <a:ext cx="5438140" cy="4466273"/>
          </a:xfrm>
          <a:prstGeom prst="rect">
            <a:avLst/>
          </a:prstGeom>
        </p:spPr>
        <p:txBody>
          <a:bodyPr vert="horz" lIns="91964" tIns="45983" rIns="91964" bIns="45983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7077"/>
            <a:ext cx="2945660" cy="496252"/>
          </a:xfrm>
          <a:prstGeom prst="rect">
            <a:avLst/>
          </a:prstGeom>
        </p:spPr>
        <p:txBody>
          <a:bodyPr vert="horz" lIns="91964" tIns="45983" rIns="91964" bIns="45983" rtlCol="0" anchor="b"/>
          <a:lstStyle>
            <a:lvl1pPr algn="r">
              <a:defRPr sz="1200"/>
            </a:lvl1pPr>
          </a:lstStyle>
          <a:p>
            <a:fld id="{6B7DA8E6-7D59-45D1-806A-C62FB4BAE0E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4733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2588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1283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594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614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2033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819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142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7DA8E6-7D59-45D1-806A-C62FB4BAE0E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791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xmlns="" id="{5261622B-97BC-4206-AB06-68C4E3EAEC37}"/>
              </a:ext>
            </a:extLst>
          </p:cNvPr>
          <p:cNvSpPr txBox="1">
            <a:spLocks/>
          </p:cNvSpPr>
          <p:nvPr userDrawn="1"/>
        </p:nvSpPr>
        <p:spPr>
          <a:xfrm>
            <a:off x="8731088" y="4815808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/>
              <a:pPr/>
              <a:t>‹#›</a:t>
            </a:fld>
            <a:endParaRPr lang="en-US" sz="1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t_c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828800"/>
            <a:ext cx="3324225" cy="1597914"/>
          </a:xfrm>
          <a:prstGeom prst="rightArrow">
            <a:avLst>
              <a:gd name="adj1" fmla="val 100000"/>
              <a:gd name="adj2" fmla="val 21388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5819776" y="1828800"/>
            <a:ext cx="3324225" cy="1597914"/>
          </a:xfrm>
          <a:prstGeom prst="leftArrow">
            <a:avLst>
              <a:gd name="adj1" fmla="val 100000"/>
              <a:gd name="adj2" fmla="val 20941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1746128"/>
            <a:ext cx="4581144" cy="2654046"/>
          </a:xfrm>
          <a:prstGeom prst="rect">
            <a:avLst/>
          </a:prstGeom>
          <a:ln w="3175">
            <a:noFill/>
          </a:ln>
        </p:spPr>
        <p:txBody>
          <a:bodyPr wrap="none" tIns="0" bIns="11887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bout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-4763" y="1934376"/>
            <a:ext cx="4919472" cy="2290572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62940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1661394"/>
            <a:ext cx="2514600" cy="2452688"/>
          </a:xfrm>
          <a:custGeom>
            <a:avLst/>
            <a:gdLst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4324350 h 4324350"/>
              <a:gd name="connsiteX4" fmla="*/ 0 w 2514600"/>
              <a:gd name="connsiteY4" fmla="*/ 0 h 4324350"/>
              <a:gd name="connsiteX0" fmla="*/ 0 w 2514600"/>
              <a:gd name="connsiteY0" fmla="*/ 0 h 4324350"/>
              <a:gd name="connsiteX1" fmla="*/ 2514600 w 2514600"/>
              <a:gd name="connsiteY1" fmla="*/ 0 h 4324350"/>
              <a:gd name="connsiteX2" fmla="*/ 2514600 w 2514600"/>
              <a:gd name="connsiteY2" fmla="*/ 4324350 h 4324350"/>
              <a:gd name="connsiteX3" fmla="*/ 0 w 2514600"/>
              <a:gd name="connsiteY3" fmla="*/ 3543300 h 4324350"/>
              <a:gd name="connsiteX4" fmla="*/ 0 w 2514600"/>
              <a:gd name="connsiteY4" fmla="*/ 0 h 432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4600" h="4324350">
                <a:moveTo>
                  <a:pt x="0" y="0"/>
                </a:moveTo>
                <a:lnTo>
                  <a:pt x="2514600" y="0"/>
                </a:lnTo>
                <a:lnTo>
                  <a:pt x="2514600" y="4324350"/>
                </a:lnTo>
                <a:lnTo>
                  <a:pt x="0" y="3543300"/>
                </a:lnTo>
                <a:lnTo>
                  <a:pt x="0" y="0"/>
                </a:lnTo>
                <a:close/>
              </a:path>
            </a:pathLst>
          </a:custGeom>
          <a:ln w="3175">
            <a:solidFill>
              <a:schemeClr val="bg1">
                <a:lumMod val="85000"/>
              </a:schemeClr>
            </a:solidFill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11176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4572000" y="1897787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11176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572000" y="3076505"/>
            <a:ext cx="3456432" cy="1179576"/>
          </a:xfrm>
          <a:prstGeom prst="rect">
            <a:avLst/>
          </a:prstGeom>
          <a:ln w="3175">
            <a:noFill/>
          </a:ln>
        </p:spPr>
        <p:txBody>
          <a:bodyPr bIns="1097280" anchor="b"/>
          <a:lstStyle>
            <a:lvl1pPr algn="ctr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4" grpId="0"/>
      <p:bldP spid="25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our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flipH="1">
            <a:off x="0" y="1631930"/>
            <a:ext cx="9144000" cy="1748790"/>
          </a:xfrm>
          <a:prstGeom prst="rect">
            <a:avLst/>
          </a:prstGeom>
          <a:ln w="3175">
            <a:noFill/>
          </a:ln>
        </p:spPr>
        <p:txBody>
          <a:bodyPr bIns="548640" anchor="b"/>
          <a:lstStyle>
            <a:lvl1pPr algn="ctr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7937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79950" y="1776609"/>
            <a:ext cx="3657600" cy="160020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Rounded Rectangle 26"/>
          <p:cNvSpPr/>
          <p:nvPr userDrawn="1"/>
        </p:nvSpPr>
        <p:spPr bwMode="auto">
          <a:xfrm>
            <a:off x="12128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ounded Rectangle 27"/>
          <p:cNvSpPr/>
          <p:nvPr userDrawn="1"/>
        </p:nvSpPr>
        <p:spPr bwMode="auto">
          <a:xfrm>
            <a:off x="5099050" y="3465937"/>
            <a:ext cx="2819400" cy="32180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Text Placeholder 3"/>
          <p:cNvSpPr>
            <a:spLocks noGrp="1"/>
          </p:cNvSpPr>
          <p:nvPr>
            <p:ph type="body" sz="half" idx="37"/>
          </p:nvPr>
        </p:nvSpPr>
        <p:spPr>
          <a:xfrm>
            <a:off x="18224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0" name="Text Placeholder 3"/>
          <p:cNvSpPr>
            <a:spLocks noGrp="1"/>
          </p:cNvSpPr>
          <p:nvPr>
            <p:ph type="body" sz="half" idx="50"/>
          </p:nvPr>
        </p:nvSpPr>
        <p:spPr>
          <a:xfrm>
            <a:off x="17081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7"/>
          </p:nvPr>
        </p:nvSpPr>
        <p:spPr>
          <a:xfrm>
            <a:off x="5708650" y="3554549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58"/>
          </p:nvPr>
        </p:nvSpPr>
        <p:spPr>
          <a:xfrm>
            <a:off x="5594350" y="388924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7" grpId="0" animBg="1"/>
      <p:bldP spid="28" grpId="0" animBg="1"/>
      <p:bldP spid="2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278124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6022848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33400" y="1753970"/>
            <a:ext cx="2587752" cy="1344168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52152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2568319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7" hasCustomPrompt="1"/>
          </p:nvPr>
        </p:nvSpPr>
        <p:spPr>
          <a:xfrm>
            <a:off x="4684486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6800654" y="2122235"/>
            <a:ext cx="1874520" cy="1405890"/>
          </a:xfrm>
          <a:prstGeom prst="roundRect">
            <a:avLst>
              <a:gd name="adj" fmla="val 11707"/>
            </a:avLst>
          </a:pr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67995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half" idx="15"/>
          </p:nvPr>
        </p:nvSpPr>
        <p:spPr>
          <a:xfrm>
            <a:off x="34290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365622" y="3517186"/>
            <a:ext cx="1545336" cy="8049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3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65622" y="2098619"/>
            <a:ext cx="1545336" cy="309112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208485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19"/>
          </p:nvPr>
        </p:nvSpPr>
        <p:spPr>
          <a:xfrm>
            <a:off x="205975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2082477" y="3517186"/>
            <a:ext cx="1545336" cy="8049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21"/>
          </p:nvPr>
        </p:nvSpPr>
        <p:spPr>
          <a:xfrm>
            <a:off x="2082477" y="2098619"/>
            <a:ext cx="1545336" cy="309112"/>
          </a:xfrm>
          <a:prstGeom prst="rect">
            <a:avLst/>
          </a:prstGeom>
          <a:solidFill>
            <a:schemeClr val="accent2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>
            <p:ph type="pic" sz="quarter" idx="22" hasCustomPrompt="1"/>
          </p:nvPr>
        </p:nvSpPr>
        <p:spPr>
          <a:xfrm>
            <a:off x="380170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23"/>
          </p:nvPr>
        </p:nvSpPr>
        <p:spPr>
          <a:xfrm>
            <a:off x="377661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3799332" y="3517186"/>
            <a:ext cx="1545336" cy="8049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25"/>
          </p:nvPr>
        </p:nvSpPr>
        <p:spPr>
          <a:xfrm>
            <a:off x="3799332" y="2098619"/>
            <a:ext cx="1545336" cy="309112"/>
          </a:xfrm>
          <a:prstGeom prst="rect">
            <a:avLst/>
          </a:prstGeom>
          <a:solidFill>
            <a:schemeClr val="accent3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6" hasCustomPrompt="1"/>
          </p:nvPr>
        </p:nvSpPr>
        <p:spPr>
          <a:xfrm>
            <a:off x="5518561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27"/>
          </p:nvPr>
        </p:nvSpPr>
        <p:spPr>
          <a:xfrm>
            <a:off x="5493465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Rectangle 49"/>
          <p:cNvSpPr/>
          <p:nvPr userDrawn="1"/>
        </p:nvSpPr>
        <p:spPr>
          <a:xfrm>
            <a:off x="5516187" y="3517186"/>
            <a:ext cx="1545336" cy="8049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29"/>
          </p:nvPr>
        </p:nvSpPr>
        <p:spPr>
          <a:xfrm>
            <a:off x="5516187" y="2098619"/>
            <a:ext cx="1545336" cy="309112"/>
          </a:xfrm>
          <a:prstGeom prst="rect">
            <a:avLst/>
          </a:prstGeom>
          <a:solidFill>
            <a:schemeClr val="accent4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2" name="Picture Placeholder 7"/>
          <p:cNvSpPr>
            <a:spLocks noGrp="1"/>
          </p:cNvSpPr>
          <p:nvPr>
            <p:ph type="pic" sz="quarter" idx="30" hasCustomPrompt="1"/>
          </p:nvPr>
        </p:nvSpPr>
        <p:spPr>
          <a:xfrm>
            <a:off x="7235416" y="2097037"/>
            <a:ext cx="1540591" cy="1419182"/>
          </a:xfrm>
          <a:prstGeom prst="rect">
            <a:avLst/>
          </a:prstGeom>
          <a:ln>
            <a:noFill/>
          </a:ln>
        </p:spPr>
        <p:txBody>
          <a:bodyPr bIns="457200" anchor="b"/>
          <a:lstStyle>
            <a:lvl1pPr algn="ctr">
              <a:buNone/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31"/>
          </p:nvPr>
        </p:nvSpPr>
        <p:spPr>
          <a:xfrm>
            <a:off x="7210320" y="3743253"/>
            <a:ext cx="1590780" cy="47632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100" b="0" baseline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Rectangle 53"/>
          <p:cNvSpPr/>
          <p:nvPr userDrawn="1"/>
        </p:nvSpPr>
        <p:spPr>
          <a:xfrm>
            <a:off x="7233042" y="3517186"/>
            <a:ext cx="1545336" cy="8049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33"/>
          </p:nvPr>
        </p:nvSpPr>
        <p:spPr>
          <a:xfrm>
            <a:off x="7233042" y="2098619"/>
            <a:ext cx="1545336" cy="309112"/>
          </a:xfrm>
          <a:prstGeom prst="rect">
            <a:avLst/>
          </a:prstGeom>
          <a:solidFill>
            <a:schemeClr val="accent5">
              <a:alpha val="75000"/>
            </a:schemeClr>
          </a:solidFill>
        </p:spPr>
        <p:txBody>
          <a:bodyPr wrap="non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3000"/>
                            </p:stCondLst>
                            <p:childTnLst>
                              <p:par>
                                <p:cTn id="4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500"/>
                            </p:stCondLst>
                            <p:childTnLst>
                              <p:par>
                                <p:cTn id="5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000"/>
                            </p:stCondLst>
                            <p:childTnLst>
                              <p:par>
                                <p:cTn id="5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500"/>
                            </p:stCondLst>
                            <p:childTnLst>
                              <p:par>
                                <p:cTn id="6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1" dur="5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500"/>
                            </p:stCondLst>
                            <p:childTnLst>
                              <p:par>
                                <p:cTn id="7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0"/>
                            </p:stCondLst>
                            <p:childTnLst>
                              <p:par>
                                <p:cTn id="8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8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6500"/>
                            </p:stCondLst>
                            <p:childTnLst>
                              <p:par>
                                <p:cTn id="8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5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000"/>
                            </p:stCondLst>
                            <p:childTnLst>
                              <p:par>
                                <p:cTn id="95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  <p:bldP spid="3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animBg="1"/>
      <p:bldP spid="39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/>
      <p:bldP spid="4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animBg="1"/>
      <p:bldP spid="43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/>
      <p:bldP spid="45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/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animBg="1"/>
      <p:bldP spid="51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/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 build="p" animBg="1">
        <p:tmplLst>
          <p:tmpl>
            <p:tnLst>
              <p:par>
                <p:cTn presetID="22" presetClass="entr" presetSubtype="1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up)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653856" y="2009742"/>
            <a:ext cx="1834811" cy="2133633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706290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6700527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703408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4703408" y="2009742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0" hasCustomPrompt="1"/>
          </p:nvPr>
        </p:nvSpPr>
        <p:spPr>
          <a:xfrm>
            <a:off x="2706290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1" hasCustomPrompt="1"/>
          </p:nvPr>
        </p:nvSpPr>
        <p:spPr>
          <a:xfrm>
            <a:off x="6700527" y="3133078"/>
            <a:ext cx="1779495" cy="1010297"/>
          </a:xfrm>
          <a:prstGeom prst="rect">
            <a:avLst/>
          </a:prstGeom>
          <a:ln>
            <a:noFill/>
          </a:ln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27" grpId="0"/>
      <p:bldP spid="28" grpId="0"/>
      <p:bldP spid="29" grpId="0"/>
      <p:bldP spid="3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576948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608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640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672949" y="1933575"/>
            <a:ext cx="1834811" cy="2133633"/>
          </a:xfrm>
          <a:prstGeom prst="rect">
            <a:avLst/>
          </a:prstGeom>
          <a:ln w="76200" cap="sq">
            <a:solidFill>
              <a:schemeClr val="bg1">
                <a:lumMod val="7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isometricOffAxis1Right"/>
            <a:lightRig rig="threePt" dir="t"/>
          </a:scene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389670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Lef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48801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38100"/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5707932" y="2306973"/>
            <a:ext cx="2025977" cy="1522077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2000" endA="300" endPos="35000" dir="5400000" sy="-100000" algn="bl" rotWithShape="0"/>
          </a:effectLst>
          <a:scene3d>
            <a:camera prst="perspectiveRigh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  <p:bldP spid="20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507959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2924336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340713" y="269475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5757089" y="2084161"/>
            <a:ext cx="1864816" cy="140099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50000" endA="275" endPos="40000" dist="101600" dir="5400000" sy="-100000" algn="bl" rotWithShape="0"/>
          </a:effectLst>
          <a:scene3d>
            <a:camera prst="orthographicFront"/>
            <a:lightRig rig="threePt" dir="t"/>
          </a:scene3d>
          <a:sp3d extrusionH="3810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ellipse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8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6385667" y="2372645"/>
            <a:ext cx="1548560" cy="11634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861667" y="2294875"/>
            <a:ext cx="1755594" cy="1318943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032867" y="2162495"/>
            <a:ext cx="2108006" cy="1583702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5" hasCustomPrompt="1"/>
          </p:nvPr>
        </p:nvSpPr>
        <p:spPr>
          <a:xfrm>
            <a:off x="1127867" y="2079641"/>
            <a:ext cx="2328572" cy="1749409"/>
          </a:xfrm>
          <a:prstGeom prst="rect">
            <a:avLst/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algn="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 hasCustomPrompt="1"/>
          </p:nvPr>
        </p:nvSpPr>
        <p:spPr>
          <a:xfrm rot="20906495">
            <a:off x="4899319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 hasCustomPrompt="1"/>
          </p:nvPr>
        </p:nvSpPr>
        <p:spPr>
          <a:xfrm rot="20906495">
            <a:off x="2079918" y="2013480"/>
            <a:ext cx="2287152" cy="1718291"/>
          </a:xfrm>
          <a:prstGeom prst="roundRect">
            <a:avLst>
              <a:gd name="adj" fmla="val 8073"/>
            </a:avLst>
          </a:prstGeom>
          <a:ln w="76200" cap="sq">
            <a:solidFill>
              <a:schemeClr val="bg1">
                <a:lumMod val="65000"/>
              </a:schemeClr>
            </a:solidFill>
            <a:miter lim="800000"/>
          </a:ln>
          <a:effectLst>
            <a:reflection blurRad="6350" stA="50000" endA="300" endPos="38500" dist="50800" dir="5400000" sy="-100000" algn="bl" rotWithShape="0"/>
          </a:effectLst>
          <a:scene3d>
            <a:camera prst="perspectiveContrastingRightFacing">
              <a:rot lat="0" lon="20400000" rev="0"/>
            </a:camera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274320" anchor="b"/>
          <a:lstStyle>
            <a:lvl1pPr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6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val 1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448258" y="1804541"/>
            <a:ext cx="2247484" cy="1688490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9144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5687393" y="307404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5967413" y="1928273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731709" y="2127000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974782" y="3200885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809531" y="3321256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Oval 1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17" hasCustomPrompt="1"/>
          </p:nvPr>
        </p:nvSpPr>
        <p:spPr>
          <a:xfrm rot="1256599">
            <a:off x="4793113" y="325353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18" hasCustomPrompt="1"/>
          </p:nvPr>
        </p:nvSpPr>
        <p:spPr>
          <a:xfrm rot="20565730">
            <a:off x="4842100" y="19211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19" hasCustomPrompt="1"/>
          </p:nvPr>
        </p:nvSpPr>
        <p:spPr>
          <a:xfrm rot="20565730">
            <a:off x="1169539" y="204011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20" hasCustomPrompt="1"/>
          </p:nvPr>
        </p:nvSpPr>
        <p:spPr>
          <a:xfrm rot="976477">
            <a:off x="1320173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1" hasCustomPrompt="1"/>
          </p:nvPr>
        </p:nvSpPr>
        <p:spPr>
          <a:xfrm rot="20565730">
            <a:off x="3146505" y="3233199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2" hasCustomPrompt="1"/>
          </p:nvPr>
        </p:nvSpPr>
        <p:spPr>
          <a:xfrm rot="976477">
            <a:off x="3005639" y="1913021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0" name="Picture Placeholder 7"/>
          <p:cNvSpPr>
            <a:spLocks noGrp="1"/>
          </p:cNvSpPr>
          <p:nvPr>
            <p:ph type="pic" sz="quarter" idx="23" hasCustomPrompt="1"/>
          </p:nvPr>
        </p:nvSpPr>
        <p:spPr>
          <a:xfrm rot="761790">
            <a:off x="6343966" y="2119847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31" name="Picture Placeholder 7"/>
          <p:cNvSpPr>
            <a:spLocks noGrp="1"/>
          </p:cNvSpPr>
          <p:nvPr>
            <p:ph type="pic" sz="quarter" idx="24" hasCustomPrompt="1"/>
          </p:nvPr>
        </p:nvSpPr>
        <p:spPr>
          <a:xfrm rot="21049868">
            <a:off x="6587039" y="3193732"/>
            <a:ext cx="1358536" cy="1020639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bIns="457200" anchor="b"/>
          <a:lstStyle>
            <a:lvl1pPr algn="ctr">
              <a:buNone/>
              <a:defRPr sz="10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622166" y="1772543"/>
            <a:ext cx="7899668" cy="1852368"/>
          </a:xfrm>
          <a:prstGeom prst="rect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/>
          <a:scene3d>
            <a:camera prst="orthographicFront"/>
            <a:lightRig rig="threePt" dir="t"/>
          </a:scene3d>
          <a:sp3d extrusionH="171450">
            <a:extrusionClr>
              <a:schemeClr val="tx1">
                <a:lumMod val="65000"/>
                <a:lumOff val="35000"/>
              </a:schemeClr>
            </a:extrusionClr>
          </a:sp3d>
        </p:spPr>
        <p:txBody>
          <a:bodyPr bIns="731520" anchor="b"/>
          <a:lstStyle>
            <a:lvl1pPr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1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1579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36746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5770136" y="2939549"/>
            <a:ext cx="1755594" cy="1318943"/>
          </a:xfrm>
          <a:prstGeom prst="ellipse">
            <a:avLst/>
          </a:prstGeom>
          <a:ln w="76200" cap="sq">
            <a:solidFill>
              <a:schemeClr val="bg1">
                <a:lumMod val="85000"/>
              </a:schemeClr>
            </a:solidFill>
            <a:miter lim="800000"/>
          </a:ln>
          <a:effectLst>
            <a:innerShdw blurRad="114300">
              <a:schemeClr val="bg1"/>
            </a:innerShdw>
            <a:reflection blurRad="6350" stA="52000" endA="300" endPos="35000" dir="5400000" sy="-100000" algn="bl" rotWithShape="0"/>
          </a:effectLst>
          <a:scene3d>
            <a:camera prst="orthographicFront"/>
            <a:lightRig rig="threePt" dir="t"/>
          </a:scene3d>
          <a:sp3d extrusionH="165100"/>
        </p:spPr>
        <p:txBody>
          <a:bodyPr wrap="none" bIns="27432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2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empty_p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1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61560" y="1643297"/>
            <a:ext cx="3603118" cy="2863933"/>
          </a:xfrm>
          <a:prstGeom prst="rect">
            <a:avLst/>
          </a:prstGeom>
          <a:ln w="28575">
            <a:noFill/>
          </a:ln>
        </p:spPr>
        <p:txBody>
          <a:bodyPr wrap="none" tIns="0" bIns="128016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932046" y="1639487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932046" y="3150389"/>
            <a:ext cx="3547872" cy="1351026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l_txt_ 2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10790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967581" y="3052217"/>
            <a:ext cx="3364992" cy="146761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l_txt_ 3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83188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9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323864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5994107" y="3138194"/>
            <a:ext cx="2660904" cy="1364742"/>
          </a:xfrm>
          <a:prstGeom prst="rect">
            <a:avLst/>
          </a:prstGeom>
          <a:ln w="28575">
            <a:noFill/>
          </a:ln>
        </p:spPr>
        <p:txBody>
          <a:bodyPr wrap="none" tIns="0" bIns="274320" anchor="b"/>
          <a:lstStyle>
            <a:lvl1pPr algn="ctr" rtl="0">
              <a:buNone/>
              <a:defRPr sz="18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Oval 53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5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58" name="Arc 5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Arc 5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4004411"/>
              <a:gd name="adj2" fmla="val 6794208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Arc 65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743555"/>
              <a:gd name="adj2" fmla="val 244304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Arc 66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9060360"/>
              <a:gd name="adj2" fmla="val 20763576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Arc 67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4838961"/>
              <a:gd name="adj2" fmla="val 17548373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Arc 68"/>
          <p:cNvSpPr/>
          <p:nvPr userDrawn="1"/>
        </p:nvSpPr>
        <p:spPr>
          <a:xfrm flipH="1">
            <a:off x="3476625" y="2271475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Oval 7"/>
          <p:cNvSpPr>
            <a:spLocks noChangeArrowheads="1"/>
          </p:cNvSpPr>
          <p:nvPr userDrawn="1"/>
        </p:nvSpPr>
        <p:spPr bwMode="auto">
          <a:xfrm flipH="1">
            <a:off x="3654098" y="2196982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1" name="Oval 11"/>
          <p:cNvSpPr>
            <a:spLocks noChangeArrowheads="1"/>
          </p:cNvSpPr>
          <p:nvPr userDrawn="1"/>
        </p:nvSpPr>
        <p:spPr bwMode="auto">
          <a:xfrm flipH="1">
            <a:off x="3654098" y="3582434"/>
            <a:ext cx="514498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2" name="Oval 12"/>
          <p:cNvSpPr>
            <a:spLocks noChangeArrowheads="1"/>
          </p:cNvSpPr>
          <p:nvPr userDrawn="1"/>
        </p:nvSpPr>
        <p:spPr bwMode="auto">
          <a:xfrm flipH="1">
            <a:off x="3178810" y="2889708"/>
            <a:ext cx="514498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3" name="Oval 7"/>
          <p:cNvSpPr>
            <a:spLocks noChangeArrowheads="1"/>
          </p:cNvSpPr>
          <p:nvPr userDrawn="1"/>
        </p:nvSpPr>
        <p:spPr bwMode="auto">
          <a:xfrm>
            <a:off x="4975404" y="2196982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4" name="Oval 11"/>
          <p:cNvSpPr>
            <a:spLocks noChangeArrowheads="1"/>
          </p:cNvSpPr>
          <p:nvPr userDrawn="1"/>
        </p:nvSpPr>
        <p:spPr bwMode="auto">
          <a:xfrm>
            <a:off x="4975404" y="3582434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5" name="Oval 12"/>
          <p:cNvSpPr>
            <a:spLocks noChangeArrowheads="1"/>
          </p:cNvSpPr>
          <p:nvPr userDrawn="1"/>
        </p:nvSpPr>
        <p:spPr bwMode="auto">
          <a:xfrm>
            <a:off x="5450693" y="2889708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76" name="Straight Connector 75"/>
          <p:cNvCxnSpPr/>
          <p:nvPr userDrawn="1"/>
        </p:nvCxnSpPr>
        <p:spPr>
          <a:xfrm rot="10800000">
            <a:off x="2718332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 userDrawn="1"/>
        </p:nvCxnSpPr>
        <p:spPr>
          <a:xfrm rot="10800000">
            <a:off x="2031770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 userDrawn="1"/>
        </p:nvCxnSpPr>
        <p:spPr>
          <a:xfrm rot="10800000">
            <a:off x="2718332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ounded Rectangle 78"/>
          <p:cNvSpPr/>
          <p:nvPr userDrawn="1"/>
        </p:nvSpPr>
        <p:spPr bwMode="auto">
          <a:xfrm>
            <a:off x="1514475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0" name="Rounded Rectangle 79"/>
          <p:cNvSpPr/>
          <p:nvPr userDrawn="1"/>
        </p:nvSpPr>
        <p:spPr bwMode="auto">
          <a:xfrm>
            <a:off x="1514475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1" name="Rounded Rectangle 80"/>
          <p:cNvSpPr/>
          <p:nvPr userDrawn="1"/>
        </p:nvSpPr>
        <p:spPr bwMode="auto">
          <a:xfrm rot="5400000">
            <a:off x="243353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2" name="Text Placeholder 3"/>
          <p:cNvSpPr>
            <a:spLocks noGrp="1"/>
          </p:cNvSpPr>
          <p:nvPr>
            <p:ph type="body" sz="half" idx="35"/>
          </p:nvPr>
        </p:nvSpPr>
        <p:spPr>
          <a:xfrm>
            <a:off x="3714161" y="2881165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3" name="Text Placeholder 3"/>
          <p:cNvSpPr>
            <a:spLocks noGrp="1"/>
          </p:cNvSpPr>
          <p:nvPr>
            <p:ph type="body" sz="half" idx="37"/>
          </p:nvPr>
        </p:nvSpPr>
        <p:spPr>
          <a:xfrm>
            <a:off x="3797300" y="2709127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84" name="Text Placeholder 3"/>
          <p:cNvSpPr>
            <a:spLocks noGrp="1"/>
          </p:cNvSpPr>
          <p:nvPr>
            <p:ph type="body" sz="half" idx="38" hasCustomPrompt="1"/>
          </p:nvPr>
        </p:nvSpPr>
        <p:spPr>
          <a:xfrm>
            <a:off x="3714497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half" idx="39" hasCustomPrompt="1"/>
          </p:nvPr>
        </p:nvSpPr>
        <p:spPr>
          <a:xfrm>
            <a:off x="3239209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half" idx="40" hasCustomPrompt="1"/>
          </p:nvPr>
        </p:nvSpPr>
        <p:spPr>
          <a:xfrm>
            <a:off x="3714497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5035802" y="227952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8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5511091" y="2972252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89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5035802" y="3664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90" name="Text Placeholder 3"/>
          <p:cNvSpPr>
            <a:spLocks noGrp="1"/>
          </p:cNvSpPr>
          <p:nvPr>
            <p:ph type="body" sz="half" idx="44"/>
          </p:nvPr>
        </p:nvSpPr>
        <p:spPr>
          <a:xfrm>
            <a:off x="1562100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half" idx="45"/>
          </p:nvPr>
        </p:nvSpPr>
        <p:spPr>
          <a:xfrm>
            <a:off x="1562100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half" idx="46"/>
          </p:nvPr>
        </p:nvSpPr>
        <p:spPr>
          <a:xfrm rot="16200000">
            <a:off x="27907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93" name="Straight Connector 92"/>
          <p:cNvCxnSpPr/>
          <p:nvPr userDrawn="1"/>
        </p:nvCxnSpPr>
        <p:spPr>
          <a:xfrm rot="10800000">
            <a:off x="5481636" y="238987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 userDrawn="1"/>
        </p:nvCxnSpPr>
        <p:spPr>
          <a:xfrm rot="10800000">
            <a:off x="5956935" y="3082076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 userDrawn="1"/>
        </p:nvCxnSpPr>
        <p:spPr>
          <a:xfrm rot="10800000">
            <a:off x="5486398" y="3774280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ounded Rectangle 95"/>
          <p:cNvSpPr/>
          <p:nvPr userDrawn="1"/>
        </p:nvSpPr>
        <p:spPr bwMode="auto">
          <a:xfrm>
            <a:off x="6267450" y="1712118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7" name="Rounded Rectangle 96"/>
          <p:cNvSpPr/>
          <p:nvPr userDrawn="1"/>
        </p:nvSpPr>
        <p:spPr bwMode="auto">
          <a:xfrm>
            <a:off x="6267450" y="4221955"/>
            <a:ext cx="1352550" cy="235745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8" name="Rounded Rectangle 97"/>
          <p:cNvSpPr/>
          <p:nvPr userDrawn="1"/>
        </p:nvSpPr>
        <p:spPr bwMode="auto">
          <a:xfrm rot="5400000">
            <a:off x="7880422" y="2925603"/>
            <a:ext cx="1014413" cy="314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9" name="Text Placeholder 3"/>
          <p:cNvSpPr>
            <a:spLocks noGrp="1"/>
          </p:cNvSpPr>
          <p:nvPr>
            <p:ph type="body" sz="half" idx="47"/>
          </p:nvPr>
        </p:nvSpPr>
        <p:spPr>
          <a:xfrm>
            <a:off x="6315075" y="1757698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0" name="Text Placeholder 3"/>
          <p:cNvSpPr>
            <a:spLocks noGrp="1"/>
          </p:cNvSpPr>
          <p:nvPr>
            <p:ph type="body" sz="half" idx="48"/>
          </p:nvPr>
        </p:nvSpPr>
        <p:spPr>
          <a:xfrm>
            <a:off x="6315075" y="4267535"/>
            <a:ext cx="12573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1" name="Text Placeholder 3"/>
          <p:cNvSpPr>
            <a:spLocks noGrp="1"/>
          </p:cNvSpPr>
          <p:nvPr>
            <p:ph type="body" sz="half" idx="49"/>
          </p:nvPr>
        </p:nvSpPr>
        <p:spPr>
          <a:xfrm rot="5400000">
            <a:off x="7916142" y="2986376"/>
            <a:ext cx="942975" cy="19278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02" name="Picture Placeholder 7"/>
          <p:cNvSpPr>
            <a:spLocks noGrp="1"/>
          </p:cNvSpPr>
          <p:nvPr>
            <p:ph type="pic" sz="quarter" idx="50" hasCustomPrompt="1"/>
          </p:nvPr>
        </p:nvSpPr>
        <p:spPr>
          <a:xfrm>
            <a:off x="1647822" y="1982391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3" name="Picture Placeholder 7"/>
          <p:cNvSpPr>
            <a:spLocks noGrp="1"/>
          </p:cNvSpPr>
          <p:nvPr>
            <p:ph type="pic" sz="quarter" idx="51" hasCustomPrompt="1"/>
          </p:nvPr>
        </p:nvSpPr>
        <p:spPr>
          <a:xfrm>
            <a:off x="952498" y="2675334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4" name="Picture Placeholder 7"/>
          <p:cNvSpPr>
            <a:spLocks noGrp="1"/>
          </p:cNvSpPr>
          <p:nvPr>
            <p:ph type="pic" sz="quarter" idx="52" hasCustomPrompt="1"/>
          </p:nvPr>
        </p:nvSpPr>
        <p:spPr>
          <a:xfrm>
            <a:off x="1647826" y="3368280"/>
            <a:ext cx="1088136" cy="816102"/>
          </a:xfrm>
          <a:prstGeom prst="ellipse">
            <a:avLst/>
          </a:prstGeom>
          <a:ln w="28575">
            <a:solidFill>
              <a:schemeClr val="accent5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6400796" y="1982391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6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7091363" y="2675334"/>
            <a:ext cx="1088136" cy="816102"/>
          </a:xfrm>
          <a:prstGeom prst="ellipse">
            <a:avLst/>
          </a:prstGeom>
          <a:ln w="28575">
            <a:solidFill>
              <a:schemeClr val="accent4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7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6400800" y="3368280"/>
            <a:ext cx="1088136" cy="816102"/>
          </a:xfrm>
          <a:prstGeom prst="ellipse">
            <a:avLst/>
          </a:prstGeom>
          <a:ln w="28575">
            <a:solidFill>
              <a:schemeClr val="accent6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500"/>
                            </p:stCondLst>
                            <p:childTnLst>
                              <p:par>
                                <p:cTn id="6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1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0"/>
                            </p:stCondLst>
                            <p:childTnLst>
                              <p:par>
                                <p:cTn id="7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9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500"/>
                            </p:stCondLst>
                            <p:childTnLst>
                              <p:par>
                                <p:cTn id="8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6000"/>
                            </p:stCondLst>
                            <p:childTnLst>
                              <p:par>
                                <p:cTn id="8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6500"/>
                            </p:stCondLst>
                            <p:childTnLst>
                              <p:par>
                                <p:cTn id="9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7000"/>
                            </p:stCondLst>
                            <p:childTnLst>
                              <p:par>
                                <p:cTn id="10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0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7500"/>
                            </p:stCondLst>
                            <p:childTnLst>
                              <p:par>
                                <p:cTn id="1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8000"/>
                            </p:stCondLst>
                            <p:childTnLst>
                              <p:par>
                                <p:cTn id="117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8500"/>
                            </p:stCondLst>
                            <p:childTnLst>
                              <p:par>
                                <p:cTn id="12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7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0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9000"/>
                            </p:stCondLst>
                            <p:childTnLst>
                              <p:par>
                                <p:cTn id="1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500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9500"/>
                            </p:stCondLst>
                            <p:childTnLst>
                              <p:par>
                                <p:cTn id="1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14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8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500"/>
                            </p:stCondLst>
                            <p:childTnLst>
                              <p:par>
                                <p:cTn id="15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11000"/>
                            </p:stCondLst>
                            <p:childTnLst>
                              <p:par>
                                <p:cTn id="1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4" fill="hold">
                            <p:stCondLst>
                              <p:cond delay="11500"/>
                            </p:stCondLst>
                            <p:childTnLst>
                              <p:par>
                                <p:cTn id="16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7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1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2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500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8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 animBg="1"/>
      <p:bldP spid="66" grpId="0" animBg="1"/>
      <p:bldP spid="67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9" grpId="0" animBg="1"/>
      <p:bldP spid="80" grpId="0" animBg="1"/>
      <p:bldP spid="81" grpId="0" animBg="1"/>
      <p:bldP spid="8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0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/>
      <p:bldP spid="97" grpId="0" animBg="1"/>
      <p:bldP spid="98" grpId="0" animBg="1"/>
      <p:bldP spid="9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2" grpId="0" animBg="1"/>
      <p:bldP spid="103" grpId="0" animBg="1"/>
      <p:bldP spid="104" grpId="0" animBg="1"/>
      <p:bldP spid="105" grpId="0" animBg="1"/>
      <p:bldP spid="106" grpId="0" animBg="1"/>
      <p:bldP spid="107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Oval 3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5" name="Arc 34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8340836"/>
              <a:gd name="adj2" fmla="val 1005333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Arc 35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4838961"/>
              <a:gd name="adj2" fmla="val 6766387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Arc 36"/>
          <p:cNvSpPr/>
          <p:nvPr userDrawn="1"/>
        </p:nvSpPr>
        <p:spPr>
          <a:xfrm flipH="1">
            <a:off x="1123950" y="2295289"/>
            <a:ext cx="2190750" cy="1643066"/>
          </a:xfrm>
          <a:prstGeom prst="arc">
            <a:avLst>
              <a:gd name="adj1" fmla="val 11668510"/>
              <a:gd name="adj2" fmla="val 13280429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7"/>
          <p:cNvSpPr>
            <a:spLocks noChangeArrowheads="1"/>
          </p:cNvSpPr>
          <p:nvPr userDrawn="1"/>
        </p:nvSpPr>
        <p:spPr bwMode="auto">
          <a:xfrm>
            <a:off x="2622729" y="2220795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Oval 11"/>
          <p:cNvSpPr>
            <a:spLocks noChangeArrowheads="1"/>
          </p:cNvSpPr>
          <p:nvPr userDrawn="1"/>
        </p:nvSpPr>
        <p:spPr bwMode="auto">
          <a:xfrm>
            <a:off x="2622729" y="3606248"/>
            <a:ext cx="514496" cy="384048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Oval 12"/>
          <p:cNvSpPr>
            <a:spLocks noChangeArrowheads="1"/>
          </p:cNvSpPr>
          <p:nvPr userDrawn="1"/>
        </p:nvSpPr>
        <p:spPr bwMode="auto">
          <a:xfrm>
            <a:off x="3098018" y="2913521"/>
            <a:ext cx="514496" cy="385874"/>
          </a:xfrm>
          <a:prstGeom prst="ellipse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half" idx="35"/>
          </p:nvPr>
        </p:nvSpPr>
        <p:spPr>
          <a:xfrm>
            <a:off x="1361486" y="2904978"/>
            <a:ext cx="1715678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 Placeholder 3"/>
          <p:cNvSpPr>
            <a:spLocks noGrp="1"/>
          </p:cNvSpPr>
          <p:nvPr>
            <p:ph type="body" sz="half" idx="37"/>
          </p:nvPr>
        </p:nvSpPr>
        <p:spPr>
          <a:xfrm>
            <a:off x="1444625" y="27329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3" name="Text Placeholder 3"/>
          <p:cNvSpPr>
            <a:spLocks noGrp="1"/>
          </p:cNvSpPr>
          <p:nvPr>
            <p:ph type="body" sz="half" idx="41" hasCustomPrompt="1"/>
          </p:nvPr>
        </p:nvSpPr>
        <p:spPr>
          <a:xfrm>
            <a:off x="2683127" y="230333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half" idx="42" hasCustomPrompt="1"/>
          </p:nvPr>
        </p:nvSpPr>
        <p:spPr>
          <a:xfrm>
            <a:off x="3158416" y="2996066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half" idx="43" hasCustomPrompt="1"/>
          </p:nvPr>
        </p:nvSpPr>
        <p:spPr>
          <a:xfrm>
            <a:off x="2683127" y="3687879"/>
            <a:ext cx="393700" cy="2207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Num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rot="10800000">
            <a:off x="3132934" y="2413686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 rot="10800000">
            <a:off x="3604260" y="3105889"/>
            <a:ext cx="1124712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 userDrawn="1"/>
        </p:nvCxnSpPr>
        <p:spPr>
          <a:xfrm rot="10800000">
            <a:off x="3132934" y="3798093"/>
            <a:ext cx="914400" cy="92"/>
          </a:xfrm>
          <a:prstGeom prst="line">
            <a:avLst/>
          </a:prstGeom>
          <a:ln w="28575" cap="rnd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4048121" y="2006204"/>
            <a:ext cx="1088136" cy="816102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0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738688" y="2699147"/>
            <a:ext cx="1088136" cy="816102"/>
          </a:xfrm>
          <a:prstGeom prst="ellipse">
            <a:avLst/>
          </a:prstGeom>
          <a:ln w="28575">
            <a:solidFill>
              <a:schemeClr val="accent2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4048125" y="3392093"/>
            <a:ext cx="1088136" cy="816102"/>
          </a:xfrm>
          <a:prstGeom prst="ellipse">
            <a:avLst/>
          </a:prstGeom>
          <a:ln w="28575">
            <a:solidFill>
              <a:schemeClr val="accent3"/>
            </a:solidFill>
          </a:ln>
        </p:spPr>
        <p:txBody>
          <a:bodyPr wrap="none" tIns="0" bIns="91440" anchor="b"/>
          <a:lstStyle>
            <a:lvl1pPr algn="ctr" rtl="0">
              <a:buNone/>
              <a:defRPr sz="1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6"/>
          </p:nvPr>
        </p:nvSpPr>
        <p:spPr>
          <a:xfrm>
            <a:off x="5393375" y="2178991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57"/>
          </p:nvPr>
        </p:nvSpPr>
        <p:spPr>
          <a:xfrm>
            <a:off x="5391150" y="1993106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58"/>
          </p:nvPr>
        </p:nvSpPr>
        <p:spPr>
          <a:xfrm>
            <a:off x="6076950" y="2945607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half" idx="59"/>
          </p:nvPr>
        </p:nvSpPr>
        <p:spPr>
          <a:xfrm>
            <a:off x="6074725" y="2759722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0"/>
          </p:nvPr>
        </p:nvSpPr>
        <p:spPr>
          <a:xfrm>
            <a:off x="5393375" y="3788716"/>
            <a:ext cx="2121408" cy="43085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>
              <a:buNone/>
              <a:defRPr sz="1000" b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1"/>
          </p:nvPr>
        </p:nvSpPr>
        <p:spPr>
          <a:xfrm>
            <a:off x="5391150" y="3602831"/>
            <a:ext cx="1354104" cy="14458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500"/>
                            </p:stCondLst>
                            <p:childTnLst>
                              <p:par>
                                <p:cTn id="6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500"/>
                            </p:stCondLst>
                            <p:childTnLst>
                              <p:par>
                                <p:cTn id="81" presetID="22" presetClass="entr" presetSubtype="8" fill="hold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000"/>
                            </p:stCondLst>
                            <p:childTnLst>
                              <p:par>
                                <p:cTn id="8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animBg="1"/>
      <p:bldP spid="50" grpId="0" animBg="1"/>
      <p:bldP spid="51" grpId="0" animBg="1"/>
      <p:bldP spid="5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705637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>
            <a:off x="752119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0"/>
          </p:nvPr>
        </p:nvSpPr>
        <p:spPr>
          <a:xfrm>
            <a:off x="637819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half" idx="51"/>
          </p:nvPr>
        </p:nvSpPr>
        <p:spPr>
          <a:xfrm>
            <a:off x="752119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2716273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55"/>
          </p:nvPr>
        </p:nvSpPr>
        <p:spPr>
          <a:xfrm>
            <a:off x="2762755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56"/>
          </p:nvPr>
        </p:nvSpPr>
        <p:spPr>
          <a:xfrm>
            <a:off x="2648455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57"/>
          </p:nvPr>
        </p:nvSpPr>
        <p:spPr>
          <a:xfrm>
            <a:off x="2762755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726909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59"/>
          </p:nvPr>
        </p:nvSpPr>
        <p:spPr>
          <a:xfrm>
            <a:off x="4773391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3" name="Text Placeholder 3"/>
          <p:cNvSpPr>
            <a:spLocks noGrp="1"/>
          </p:cNvSpPr>
          <p:nvPr>
            <p:ph type="body" sz="half" idx="60"/>
          </p:nvPr>
        </p:nvSpPr>
        <p:spPr>
          <a:xfrm>
            <a:off x="4659091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4" name="Text Placeholder 3"/>
          <p:cNvSpPr>
            <a:spLocks noGrp="1"/>
          </p:cNvSpPr>
          <p:nvPr>
            <p:ph type="body" sz="half" idx="61"/>
          </p:nvPr>
        </p:nvSpPr>
        <p:spPr>
          <a:xfrm>
            <a:off x="4773391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5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6737546" y="1952625"/>
            <a:ext cx="1693164" cy="126987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56" name="Text Placeholder 3"/>
          <p:cNvSpPr>
            <a:spLocks noGrp="1"/>
          </p:cNvSpPr>
          <p:nvPr>
            <p:ph type="body" sz="half" idx="63"/>
          </p:nvPr>
        </p:nvSpPr>
        <p:spPr>
          <a:xfrm>
            <a:off x="6784028" y="356528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7" name="Text Placeholder 3"/>
          <p:cNvSpPr>
            <a:spLocks noGrp="1"/>
          </p:cNvSpPr>
          <p:nvPr>
            <p:ph type="body" sz="half" idx="64"/>
          </p:nvPr>
        </p:nvSpPr>
        <p:spPr>
          <a:xfrm>
            <a:off x="6669728" y="3737318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8" name="Text Placeholder 3"/>
          <p:cNvSpPr>
            <a:spLocks noGrp="1"/>
          </p:cNvSpPr>
          <p:nvPr>
            <p:ph type="body" sz="half" idx="65"/>
          </p:nvPr>
        </p:nvSpPr>
        <p:spPr>
          <a:xfrm>
            <a:off x="6784028" y="339540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500"/>
                            </p:stCondLst>
                            <p:childTnLst>
                              <p:par>
                                <p:cTn id="34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500"/>
                            </p:stCondLst>
                            <p:childTnLst>
                              <p:par>
                                <p:cTn id="4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500"/>
                            </p:stCondLst>
                            <p:childTnLst>
                              <p:par>
                                <p:cTn id="56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0"/>
                            </p:stCondLst>
                            <p:childTnLst>
                              <p:par>
                                <p:cTn id="6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5500"/>
                            </p:stCondLst>
                            <p:childTnLst>
                              <p:par>
                                <p:cTn id="6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7" grpId="0" animBg="1"/>
      <p:bldP spid="4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animBg="1"/>
      <p:bldP spid="5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animBg="1"/>
      <p:bldP spid="56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51"/>
          </p:nvPr>
        </p:nvSpPr>
        <p:spPr>
          <a:xfrm>
            <a:off x="923925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57"/>
          </p:nvPr>
        </p:nvSpPr>
        <p:spPr>
          <a:xfrm>
            <a:off x="6610350" y="188052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797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8" hasCustomPrompt="1"/>
          </p:nvPr>
        </p:nvSpPr>
        <p:spPr>
          <a:xfrm>
            <a:off x="4652918" y="1736122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59"/>
          </p:nvPr>
        </p:nvSpPr>
        <p:spPr>
          <a:xfrm>
            <a:off x="923925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60"/>
          </p:nvPr>
        </p:nvSpPr>
        <p:spPr>
          <a:xfrm>
            <a:off x="6610350" y="3275076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61" hasCustomPrompt="1"/>
          </p:nvPr>
        </p:nvSpPr>
        <p:spPr>
          <a:xfrm>
            <a:off x="2797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62" hasCustomPrompt="1"/>
          </p:nvPr>
        </p:nvSpPr>
        <p:spPr>
          <a:xfrm>
            <a:off x="4652918" y="3130677"/>
            <a:ext cx="1693164" cy="1269873"/>
          </a:xfrm>
          <a:prstGeom prst="ellipse">
            <a:avLst/>
          </a:prstGeom>
          <a:ln w="57150">
            <a:solidFill>
              <a:schemeClr val="bg1">
                <a:lumMod val="65000"/>
              </a:schemeClr>
            </a:solidFill>
          </a:ln>
          <a:effectLst>
            <a:innerShdw blurRad="114300">
              <a:prstClr val="black"/>
            </a:inn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val 1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2837468" y="1785885"/>
            <a:ext cx="1606620" cy="1204965"/>
          </a:xfrm>
          <a:prstGeom prst="diamond">
            <a:avLst/>
          </a:prstGeom>
          <a:ln w="69850" cap="flat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3" name="Picture Placeholder 7"/>
          <p:cNvSpPr>
            <a:spLocks noGrp="1"/>
          </p:cNvSpPr>
          <p:nvPr>
            <p:ph type="pic" sz="quarter" idx="54" hasCustomPrompt="1"/>
          </p:nvPr>
        </p:nvSpPr>
        <p:spPr>
          <a:xfrm>
            <a:off x="4697626" y="1785885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4" name="Picture Placeholder 7"/>
          <p:cNvSpPr>
            <a:spLocks noGrp="1"/>
          </p:cNvSpPr>
          <p:nvPr>
            <p:ph type="pic" sz="quarter" idx="55" hasCustomPrompt="1"/>
          </p:nvPr>
        </p:nvSpPr>
        <p:spPr>
          <a:xfrm>
            <a:off x="2837468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56" hasCustomPrompt="1"/>
          </p:nvPr>
        </p:nvSpPr>
        <p:spPr>
          <a:xfrm>
            <a:off x="4697626" y="3205110"/>
            <a:ext cx="1606620" cy="1204965"/>
          </a:xfrm>
          <a:prstGeom prst="diamond">
            <a:avLst/>
          </a:prstGeom>
          <a:ln w="69850">
            <a:solidFill>
              <a:schemeClr val="bg1">
                <a:lumMod val="65000"/>
              </a:schemeClr>
            </a:solidFill>
            <a:miter lim="800000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50"/>
          </p:nvPr>
        </p:nvSpPr>
        <p:spPr>
          <a:xfrm>
            <a:off x="809465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51"/>
          </p:nvPr>
        </p:nvSpPr>
        <p:spPr>
          <a:xfrm>
            <a:off x="1038065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58"/>
          </p:nvPr>
        </p:nvSpPr>
        <p:spPr>
          <a:xfrm>
            <a:off x="809465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r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59"/>
          </p:nvPr>
        </p:nvSpPr>
        <p:spPr>
          <a:xfrm>
            <a:off x="1038065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half" idx="61"/>
          </p:nvPr>
        </p:nvSpPr>
        <p:spPr>
          <a:xfrm>
            <a:off x="6508554" y="205410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6508554" y="188929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half" idx="64"/>
          </p:nvPr>
        </p:nvSpPr>
        <p:spPr>
          <a:xfrm>
            <a:off x="6508554" y="3482851"/>
            <a:ext cx="1828800" cy="644652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11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5" name="Text Placeholder 3"/>
          <p:cNvSpPr>
            <a:spLocks noGrp="1"/>
          </p:cNvSpPr>
          <p:nvPr>
            <p:ph type="body" sz="half" idx="65"/>
          </p:nvPr>
        </p:nvSpPr>
        <p:spPr>
          <a:xfrm>
            <a:off x="6508554" y="3318040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000"/>
                            </p:stCondLst>
                            <p:childTnLst>
                              <p:par>
                                <p:cTn id="3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500"/>
                            </p:stCondLst>
                            <p:childTnLst>
                              <p:par>
                                <p:cTn id="38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000"/>
                            </p:stCondLst>
                            <p:childTnLst>
                              <p:par>
                                <p:cTn id="4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24" grpId="0" animBg="1"/>
      <p:bldP spid="25" grpId="0" animBg="1"/>
      <p:bldP spid="26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half" idx="61"/>
          </p:nvPr>
        </p:nvSpPr>
        <p:spPr>
          <a:xfrm>
            <a:off x="1866900" y="2219369"/>
            <a:ext cx="1426464" cy="466731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3" name="Text Placeholder 3"/>
          <p:cNvSpPr>
            <a:spLocks noGrp="1"/>
          </p:cNvSpPr>
          <p:nvPr>
            <p:ph type="body" sz="half" idx="62"/>
          </p:nvPr>
        </p:nvSpPr>
        <p:spPr>
          <a:xfrm>
            <a:off x="1866900" y="2054558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35" name="Picture Placeholder 7"/>
          <p:cNvSpPr>
            <a:spLocks noGrp="1"/>
          </p:cNvSpPr>
          <p:nvPr>
            <p:ph type="pic" sz="quarter" idx="63" hasCustomPrompt="1"/>
          </p:nvPr>
        </p:nvSpPr>
        <p:spPr>
          <a:xfrm>
            <a:off x="583092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64" hasCustomPrompt="1"/>
          </p:nvPr>
        </p:nvSpPr>
        <p:spPr>
          <a:xfrm>
            <a:off x="3314146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5" name="Picture Placeholder 7"/>
          <p:cNvSpPr>
            <a:spLocks noGrp="1"/>
          </p:cNvSpPr>
          <p:nvPr>
            <p:ph type="pic" sz="quarter" idx="65" hasCustomPrompt="1"/>
          </p:nvPr>
        </p:nvSpPr>
        <p:spPr>
          <a:xfrm>
            <a:off x="6045200" y="3375781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6" name="Picture Placeholder 7"/>
          <p:cNvSpPr>
            <a:spLocks noGrp="1"/>
          </p:cNvSpPr>
          <p:nvPr>
            <p:ph type="pic" sz="quarter" idx="66" hasCustomPrompt="1"/>
          </p:nvPr>
        </p:nvSpPr>
        <p:spPr>
          <a:xfrm>
            <a:off x="583092" y="1947862"/>
            <a:ext cx="1163158" cy="872369"/>
          </a:xfrm>
          <a:prstGeom prst="roundRect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</a:ln>
          <a:effectLst/>
        </p:spPr>
        <p:txBody>
          <a:bodyPr wrap="none" tIns="0" bIns="182880" anchor="b"/>
          <a:lstStyle>
            <a:lvl1pPr algn="ctr" rtl="0">
              <a:buNone/>
              <a:defRPr sz="9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half" idx="67"/>
          </p:nvPr>
        </p:nvSpPr>
        <p:spPr>
          <a:xfrm>
            <a:off x="18980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8" name="Text Placeholder 3"/>
          <p:cNvSpPr>
            <a:spLocks noGrp="1"/>
          </p:cNvSpPr>
          <p:nvPr>
            <p:ph type="body" sz="half" idx="68"/>
          </p:nvPr>
        </p:nvSpPr>
        <p:spPr>
          <a:xfrm>
            <a:off x="18980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49" name="Text Placeholder 3"/>
          <p:cNvSpPr>
            <a:spLocks noGrp="1"/>
          </p:cNvSpPr>
          <p:nvPr>
            <p:ph type="body" sz="half" idx="69"/>
          </p:nvPr>
        </p:nvSpPr>
        <p:spPr>
          <a:xfrm>
            <a:off x="46158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0" name="Text Placeholder 3"/>
          <p:cNvSpPr>
            <a:spLocks noGrp="1"/>
          </p:cNvSpPr>
          <p:nvPr>
            <p:ph type="body" sz="half" idx="70"/>
          </p:nvPr>
        </p:nvSpPr>
        <p:spPr>
          <a:xfrm>
            <a:off x="46158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3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51" name="Text Placeholder 3"/>
          <p:cNvSpPr>
            <a:spLocks noGrp="1"/>
          </p:cNvSpPr>
          <p:nvPr>
            <p:ph type="body" sz="half" idx="71"/>
          </p:nvPr>
        </p:nvSpPr>
        <p:spPr>
          <a:xfrm>
            <a:off x="7371762" y="3676062"/>
            <a:ext cx="1426464" cy="466344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l" rtl="0">
              <a:buNone/>
              <a:defRPr sz="9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half" idx="72"/>
          </p:nvPr>
        </p:nvSpPr>
        <p:spPr>
          <a:xfrm>
            <a:off x="7371762" y="3511251"/>
            <a:ext cx="1426464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l" rtl="0">
              <a:buNone/>
              <a:defRPr sz="1400" b="1" baseline="0">
                <a:solidFill>
                  <a:schemeClr val="accent4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54" name="Straight Connector 53"/>
          <p:cNvCxnSpPr/>
          <p:nvPr userDrawn="1"/>
        </p:nvCxnSpPr>
        <p:spPr>
          <a:xfrm flipV="1">
            <a:off x="1165465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 rot="5400000">
            <a:off x="3781425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" name="Group 59"/>
          <p:cNvGrpSpPr/>
          <p:nvPr userDrawn="1"/>
        </p:nvGrpSpPr>
        <p:grpSpPr>
          <a:xfrm>
            <a:off x="1163877" y="2890838"/>
            <a:ext cx="1588" cy="457200"/>
            <a:chOff x="1163877" y="2705100"/>
            <a:chExt cx="1588" cy="609600"/>
          </a:xfrm>
        </p:grpSpPr>
        <p:cxnSp>
          <p:nvCxnSpPr>
            <p:cNvPr id="61" name="Straight Connector 60"/>
            <p:cNvCxnSpPr/>
            <p:nvPr userDrawn="1"/>
          </p:nvCxnSpPr>
          <p:spPr>
            <a:xfrm rot="5400000">
              <a:off x="1012271" y="31615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 userDrawn="1"/>
          </p:nvCxnSpPr>
          <p:spPr>
            <a:xfrm rot="5400000">
              <a:off x="1012271" y="2856706"/>
              <a:ext cx="304800" cy="1588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Straight Connector 65"/>
          <p:cNvCxnSpPr/>
          <p:nvPr userDrawn="1"/>
        </p:nvCxnSpPr>
        <p:spPr>
          <a:xfrm flipV="1">
            <a:off x="3899934" y="3119437"/>
            <a:ext cx="2697480" cy="119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 userDrawn="1"/>
        </p:nvCxnSpPr>
        <p:spPr>
          <a:xfrm rot="5400000">
            <a:off x="6515894" y="3232943"/>
            <a:ext cx="228600" cy="158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000"/>
                            </p:stCondLst>
                            <p:childTnLst>
                              <p:par>
                                <p:cTn id="31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500"/>
                            </p:stCondLst>
                            <p:childTnLst>
                              <p:par>
                                <p:cTn id="4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500"/>
                            </p:stCondLst>
                            <p:childTnLst>
                              <p:par>
                                <p:cTn id="52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000"/>
                            </p:stCondLst>
                            <p:childTnLst>
                              <p:par>
                                <p:cTn id="5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65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000"/>
                            </p:stCondLst>
                            <p:childTnLst>
                              <p:par>
                                <p:cTn id="6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500"/>
                            </p:stCondLst>
                            <p:childTnLst>
                              <p:par>
                                <p:cTn id="6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000"/>
                            </p:stCondLst>
                            <p:childTnLst>
                              <p:par>
                                <p:cTn id="7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5" grpId="0" animBg="1"/>
      <p:bldP spid="43" grpId="0" animBg="1"/>
      <p:bldP spid="45" grpId="0" animBg="1"/>
      <p:bldP spid="46" grpId="0" animBg="1"/>
      <p:bldP spid="47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9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0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1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2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2943225"/>
          </a:xfrm>
          <a:prstGeom prst="rect">
            <a:avLst/>
          </a:prstGeom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3754438" y="2890838"/>
            <a:ext cx="1635124" cy="1226343"/>
          </a:xfrm>
          <a:prstGeom prst="ellipse">
            <a:avLst/>
          </a:prstGeom>
          <a:ln w="76200">
            <a:solidFill>
              <a:schemeClr val="bg1">
                <a:lumMod val="65000"/>
              </a:schemeClr>
            </a:solidFill>
          </a:ln>
          <a:effectLst/>
        </p:spPr>
        <p:txBody>
          <a:bodyPr wrap="none" tIns="0" bIns="274320" anchor="b"/>
          <a:lstStyle>
            <a:lvl1pPr algn="ctr" rtl="0">
              <a:buNone/>
              <a:defRPr sz="1000" b="1" i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24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half" idx="36"/>
          </p:nvPr>
        </p:nvSpPr>
        <p:spPr>
          <a:xfrm>
            <a:off x="875408" y="3413285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875408" y="3610163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761108" y="3590380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/>
          <p:cNvSpPr>
            <a:spLocks noGrp="1"/>
          </p:cNvSpPr>
          <p:nvPr>
            <p:ph type="body" sz="half" idx="41"/>
          </p:nvPr>
        </p:nvSpPr>
        <p:spPr>
          <a:xfrm>
            <a:off x="761108" y="3797000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665034" y="1798710"/>
            <a:ext cx="2020948" cy="1515711"/>
          </a:xfrm>
          <a:prstGeom prst="roundRect">
            <a:avLst>
              <a:gd name="adj" fmla="val 12935"/>
            </a:avLst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grpSp>
        <p:nvGrpSpPr>
          <p:cNvPr id="33" name="Group 11"/>
          <p:cNvGrpSpPr/>
          <p:nvPr userDrawn="1"/>
        </p:nvGrpSpPr>
        <p:grpSpPr>
          <a:xfrm>
            <a:off x="1163608" y="4214632"/>
            <a:ext cx="1023800" cy="224018"/>
            <a:chOff x="3733800" y="3067050"/>
            <a:chExt cx="1504430" cy="438912"/>
          </a:xfrm>
          <a:solidFill>
            <a:schemeClr val="tx1">
              <a:lumMod val="50000"/>
              <a:lumOff val="50000"/>
            </a:schemeClr>
          </a:solidFill>
        </p:grpSpPr>
        <p:sp>
          <p:nvSpPr>
            <p:cNvPr id="34" name="Freeform 15"/>
            <p:cNvSpPr>
              <a:spLocks noEditPoints="1"/>
            </p:cNvSpPr>
            <p:nvPr/>
          </p:nvSpPr>
          <p:spPr bwMode="auto">
            <a:xfrm>
              <a:off x="42672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115" y="61"/>
                </a:cxn>
                <a:cxn ang="0">
                  <a:pos x="115" y="64"/>
                </a:cxn>
                <a:cxn ang="0">
                  <a:pos x="63" y="116"/>
                </a:cxn>
                <a:cxn ang="0">
                  <a:pos x="35" y="107"/>
                </a:cxn>
                <a:cxn ang="0">
                  <a:pos x="39" y="108"/>
                </a:cxn>
                <a:cxn ang="0">
                  <a:pos x="62" y="100"/>
                </a:cxn>
                <a:cxn ang="0">
                  <a:pos x="45" y="87"/>
                </a:cxn>
                <a:cxn ang="0">
                  <a:pos x="48" y="87"/>
                </a:cxn>
                <a:cxn ang="0">
                  <a:pos x="53" y="87"/>
                </a:cxn>
                <a:cxn ang="0">
                  <a:pos x="38" y="69"/>
                </a:cxn>
                <a:cxn ang="0">
                  <a:pos x="38" y="69"/>
                </a:cxn>
                <a:cxn ang="0">
                  <a:pos x="47" y="71"/>
                </a:cxn>
                <a:cxn ang="0">
                  <a:pos x="39" y="56"/>
                </a:cxn>
                <a:cxn ang="0">
                  <a:pos x="41" y="47"/>
                </a:cxn>
                <a:cxn ang="0">
                  <a:pos x="79" y="66"/>
                </a:cxn>
                <a:cxn ang="0">
                  <a:pos x="78" y="62"/>
                </a:cxn>
                <a:cxn ang="0">
                  <a:pos x="97" y="43"/>
                </a:cxn>
                <a:cxn ang="0">
                  <a:pos x="110" y="49"/>
                </a:cxn>
                <a:cxn ang="0">
                  <a:pos x="122" y="45"/>
                </a:cxn>
                <a:cxn ang="0">
                  <a:pos x="114" y="55"/>
                </a:cxn>
                <a:cxn ang="0">
                  <a:pos x="124" y="52"/>
                </a:cxn>
                <a:cxn ang="0">
                  <a:pos x="115" y="61"/>
                </a:cxn>
                <a:cxn ang="0">
                  <a:pos x="115" y="61"/>
                </a:cxn>
                <a:cxn ang="0">
                  <a:pos x="115" y="61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115" y="61"/>
                  </a:moveTo>
                  <a:cubicBezTo>
                    <a:pt x="115" y="62"/>
                    <a:pt x="115" y="63"/>
                    <a:pt x="115" y="64"/>
                  </a:cubicBezTo>
                  <a:cubicBezTo>
                    <a:pt x="115" y="88"/>
                    <a:pt x="97" y="116"/>
                    <a:pt x="63" y="116"/>
                  </a:cubicBezTo>
                  <a:cubicBezTo>
                    <a:pt x="53" y="116"/>
                    <a:pt x="43" y="113"/>
                    <a:pt x="35" y="107"/>
                  </a:cubicBezTo>
                  <a:cubicBezTo>
                    <a:pt x="36" y="108"/>
                    <a:pt x="38" y="108"/>
                    <a:pt x="39" y="108"/>
                  </a:cubicBezTo>
                  <a:cubicBezTo>
                    <a:pt x="48" y="108"/>
                    <a:pt x="56" y="105"/>
                    <a:pt x="62" y="100"/>
                  </a:cubicBezTo>
                  <a:cubicBezTo>
                    <a:pt x="54" y="100"/>
                    <a:pt x="47" y="94"/>
                    <a:pt x="45" y="87"/>
                  </a:cubicBezTo>
                  <a:cubicBezTo>
                    <a:pt x="46" y="87"/>
                    <a:pt x="47" y="87"/>
                    <a:pt x="48" y="87"/>
                  </a:cubicBezTo>
                  <a:cubicBezTo>
                    <a:pt x="50" y="87"/>
                    <a:pt x="52" y="87"/>
                    <a:pt x="53" y="87"/>
                  </a:cubicBezTo>
                  <a:cubicBezTo>
                    <a:pt x="45" y="85"/>
                    <a:pt x="38" y="78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41" y="70"/>
                    <a:pt x="44" y="71"/>
                    <a:pt x="47" y="71"/>
                  </a:cubicBezTo>
                  <a:cubicBezTo>
                    <a:pt x="42" y="68"/>
                    <a:pt x="39" y="62"/>
                    <a:pt x="39" y="56"/>
                  </a:cubicBezTo>
                  <a:cubicBezTo>
                    <a:pt x="39" y="52"/>
                    <a:pt x="40" y="49"/>
                    <a:pt x="41" y="47"/>
                  </a:cubicBezTo>
                  <a:cubicBezTo>
                    <a:pt x="50" y="58"/>
                    <a:pt x="64" y="65"/>
                    <a:pt x="79" y="66"/>
                  </a:cubicBezTo>
                  <a:cubicBezTo>
                    <a:pt x="78" y="64"/>
                    <a:pt x="78" y="63"/>
                    <a:pt x="78" y="62"/>
                  </a:cubicBezTo>
                  <a:cubicBezTo>
                    <a:pt x="78" y="51"/>
                    <a:pt x="86" y="43"/>
                    <a:pt x="97" y="43"/>
                  </a:cubicBezTo>
                  <a:cubicBezTo>
                    <a:pt x="102" y="43"/>
                    <a:pt x="107" y="45"/>
                    <a:pt x="110" y="49"/>
                  </a:cubicBezTo>
                  <a:cubicBezTo>
                    <a:pt x="114" y="48"/>
                    <a:pt x="118" y="47"/>
                    <a:pt x="122" y="45"/>
                  </a:cubicBezTo>
                  <a:cubicBezTo>
                    <a:pt x="120" y="49"/>
                    <a:pt x="117" y="52"/>
                    <a:pt x="114" y="55"/>
                  </a:cubicBezTo>
                  <a:cubicBezTo>
                    <a:pt x="117" y="54"/>
                    <a:pt x="121" y="53"/>
                    <a:pt x="124" y="52"/>
                  </a:cubicBezTo>
                  <a:cubicBezTo>
                    <a:pt x="122" y="55"/>
                    <a:pt x="118" y="59"/>
                    <a:pt x="115" y="61"/>
                  </a:cubicBezTo>
                  <a:close/>
                  <a:moveTo>
                    <a:pt x="115" y="61"/>
                  </a:moveTo>
                  <a:cubicBezTo>
                    <a:pt x="115" y="61"/>
                    <a:pt x="115" y="61"/>
                    <a:pt x="115" y="61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/>
            <p:cNvSpPr>
              <a:spLocks noEditPoints="1"/>
            </p:cNvSpPr>
            <p:nvPr/>
          </p:nvSpPr>
          <p:spPr bwMode="auto">
            <a:xfrm>
              <a:off x="3733800" y="3067050"/>
              <a:ext cx="438912" cy="438912"/>
            </a:xfrm>
            <a:custGeom>
              <a:avLst/>
              <a:gdLst/>
              <a:ahLst/>
              <a:cxnLst>
                <a:cxn ang="0">
                  <a:pos x="79" y="0"/>
                </a:cxn>
                <a:cxn ang="0">
                  <a:pos x="0" y="79"/>
                </a:cxn>
                <a:cxn ang="0">
                  <a:pos x="79" y="159"/>
                </a:cxn>
                <a:cxn ang="0">
                  <a:pos x="159" y="79"/>
                </a:cxn>
                <a:cxn ang="0">
                  <a:pos x="79" y="0"/>
                </a:cxn>
                <a:cxn ang="0">
                  <a:pos x="99" y="82"/>
                </a:cxn>
                <a:cxn ang="0">
                  <a:pos x="86" y="82"/>
                </a:cxn>
                <a:cxn ang="0">
                  <a:pos x="86" y="128"/>
                </a:cxn>
                <a:cxn ang="0">
                  <a:pos x="67" y="128"/>
                </a:cxn>
                <a:cxn ang="0">
                  <a:pos x="67" y="82"/>
                </a:cxn>
                <a:cxn ang="0">
                  <a:pos x="58" y="82"/>
                </a:cxn>
                <a:cxn ang="0">
                  <a:pos x="58" y="66"/>
                </a:cxn>
                <a:cxn ang="0">
                  <a:pos x="67" y="66"/>
                </a:cxn>
                <a:cxn ang="0">
                  <a:pos x="67" y="55"/>
                </a:cxn>
                <a:cxn ang="0">
                  <a:pos x="86" y="36"/>
                </a:cxn>
                <a:cxn ang="0">
                  <a:pos x="101" y="36"/>
                </a:cxn>
                <a:cxn ang="0">
                  <a:pos x="101" y="52"/>
                </a:cxn>
                <a:cxn ang="0">
                  <a:pos x="90" y="52"/>
                </a:cxn>
                <a:cxn ang="0">
                  <a:pos x="86" y="56"/>
                </a:cxn>
                <a:cxn ang="0">
                  <a:pos x="86" y="66"/>
                </a:cxn>
                <a:cxn ang="0">
                  <a:pos x="101" y="66"/>
                </a:cxn>
                <a:cxn ang="0">
                  <a:pos x="99" y="82"/>
                </a:cxn>
                <a:cxn ang="0">
                  <a:pos x="99" y="82"/>
                </a:cxn>
                <a:cxn ang="0">
                  <a:pos x="99" y="82"/>
                </a:cxn>
              </a:cxnLst>
              <a:rect l="0" t="0" r="r" b="b"/>
              <a:pathLst>
                <a:path w="159" h="159">
                  <a:moveTo>
                    <a:pt x="79" y="0"/>
                  </a:moveTo>
                  <a:cubicBezTo>
                    <a:pt x="36" y="0"/>
                    <a:pt x="0" y="36"/>
                    <a:pt x="0" y="79"/>
                  </a:cubicBezTo>
                  <a:cubicBezTo>
                    <a:pt x="0" y="123"/>
                    <a:pt x="36" y="159"/>
                    <a:pt x="79" y="159"/>
                  </a:cubicBezTo>
                  <a:cubicBezTo>
                    <a:pt x="123" y="159"/>
                    <a:pt x="159" y="123"/>
                    <a:pt x="159" y="79"/>
                  </a:cubicBezTo>
                  <a:cubicBezTo>
                    <a:pt x="159" y="36"/>
                    <a:pt x="123" y="0"/>
                    <a:pt x="79" y="0"/>
                  </a:cubicBezTo>
                  <a:close/>
                  <a:moveTo>
                    <a:pt x="99" y="82"/>
                  </a:moveTo>
                  <a:cubicBezTo>
                    <a:pt x="86" y="82"/>
                    <a:pt x="86" y="82"/>
                    <a:pt x="86" y="82"/>
                  </a:cubicBezTo>
                  <a:cubicBezTo>
                    <a:pt x="86" y="128"/>
                    <a:pt x="86" y="128"/>
                    <a:pt x="86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82"/>
                    <a:pt x="67" y="82"/>
                    <a:pt x="67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66"/>
                    <a:pt x="58" y="66"/>
                    <a:pt x="58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48"/>
                    <a:pt x="71" y="36"/>
                    <a:pt x="86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89" y="52"/>
                    <a:pt x="86" y="53"/>
                    <a:pt x="86" y="5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101" y="66"/>
                    <a:pt x="101" y="66"/>
                    <a:pt x="101" y="66"/>
                  </a:cubicBezTo>
                  <a:lnTo>
                    <a:pt x="99" y="82"/>
                  </a:lnTo>
                  <a:close/>
                  <a:moveTo>
                    <a:pt x="99" y="82"/>
                  </a:moveTo>
                  <a:cubicBezTo>
                    <a:pt x="99" y="82"/>
                    <a:pt x="99" y="82"/>
                    <a:pt x="99" y="8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6" name="Group 39"/>
            <p:cNvGrpSpPr/>
            <p:nvPr userDrawn="1"/>
          </p:nvGrpSpPr>
          <p:grpSpPr>
            <a:xfrm>
              <a:off x="4800612" y="3067691"/>
              <a:ext cx="437632" cy="437630"/>
              <a:chOff x="3736975" y="1812925"/>
              <a:chExt cx="608013" cy="608013"/>
            </a:xfrm>
            <a:grpFill/>
          </p:grpSpPr>
          <p:sp>
            <p:nvSpPr>
              <p:cNvPr id="37" name="Freeform 19"/>
              <p:cNvSpPr>
                <a:spLocks noEditPoints="1"/>
              </p:cNvSpPr>
              <p:nvPr/>
            </p:nvSpPr>
            <p:spPr bwMode="auto">
              <a:xfrm>
                <a:off x="4005263" y="2073275"/>
                <a:ext cx="149225" cy="15398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12" y="7"/>
                  </a:cxn>
                  <a:cxn ang="0">
                    <a:pos x="12" y="1"/>
                  </a:cxn>
                  <a:cxn ang="0">
                    <a:pos x="0" y="1"/>
                  </a:cxn>
                  <a:cxn ang="0">
                    <a:pos x="0" y="40"/>
                  </a:cxn>
                  <a:cxn ang="0">
                    <a:pos x="12" y="40"/>
                  </a:cxn>
                  <a:cxn ang="0">
                    <a:pos x="12" y="18"/>
                  </a:cxn>
                  <a:cxn ang="0">
                    <a:pos x="13" y="15"/>
                  </a:cxn>
                  <a:cxn ang="0">
                    <a:pos x="19" y="10"/>
                  </a:cxn>
                  <a:cxn ang="0">
                    <a:pos x="26" y="19"/>
                  </a:cxn>
                  <a:cxn ang="0">
                    <a:pos x="26" y="40"/>
                  </a:cxn>
                  <a:cxn ang="0">
                    <a:pos x="39" y="40"/>
                  </a:cxn>
                  <a:cxn ang="0">
                    <a:pos x="39" y="17"/>
                  </a:cxn>
                  <a:cxn ang="0">
                    <a:pos x="24" y="0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  <a:cxn ang="0">
                    <a:pos x="12" y="7"/>
                  </a:cxn>
                </a:cxnLst>
                <a:rect l="0" t="0" r="r" b="b"/>
                <a:pathLst>
                  <a:path w="39" h="40">
                    <a:moveTo>
                      <a:pt x="24" y="0"/>
                    </a:moveTo>
                    <a:cubicBezTo>
                      <a:pt x="17" y="0"/>
                      <a:pt x="14" y="4"/>
                      <a:pt x="12" y="7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5"/>
                      <a:pt x="0" y="40"/>
                      <a:pt x="0" y="40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12" y="18"/>
                      <a:pt x="12" y="18"/>
                      <a:pt x="12" y="18"/>
                    </a:cubicBezTo>
                    <a:cubicBezTo>
                      <a:pt x="12" y="17"/>
                      <a:pt x="12" y="16"/>
                      <a:pt x="13" y="15"/>
                    </a:cubicBezTo>
                    <a:cubicBezTo>
                      <a:pt x="14" y="13"/>
                      <a:pt x="16" y="10"/>
                      <a:pt x="19" y="10"/>
                    </a:cubicBezTo>
                    <a:cubicBezTo>
                      <a:pt x="24" y="10"/>
                      <a:pt x="26" y="14"/>
                      <a:pt x="26" y="19"/>
                    </a:cubicBezTo>
                    <a:cubicBezTo>
                      <a:pt x="26" y="40"/>
                      <a:pt x="26" y="40"/>
                      <a:pt x="26" y="40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9" y="6"/>
                      <a:pt x="32" y="0"/>
                      <a:pt x="24" y="0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lose/>
                    <a:moveTo>
                      <a:pt x="12" y="7"/>
                    </a:moveTo>
                    <a:cubicBezTo>
                      <a:pt x="12" y="7"/>
                      <a:pt x="12" y="7"/>
                      <a:pt x="12" y="7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0"/>
              <p:cNvSpPr>
                <a:spLocks noChangeArrowheads="1"/>
              </p:cNvSpPr>
              <p:nvPr/>
            </p:nvSpPr>
            <p:spPr bwMode="auto">
              <a:xfrm>
                <a:off x="3929063" y="2078038"/>
                <a:ext cx="46038" cy="14922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1"/>
              <p:cNvSpPr>
                <a:spLocks noEditPoints="1"/>
              </p:cNvSpPr>
              <p:nvPr/>
            </p:nvSpPr>
            <p:spPr bwMode="auto">
              <a:xfrm>
                <a:off x="3736975" y="1812925"/>
                <a:ext cx="608013" cy="608013"/>
              </a:xfrm>
              <a:custGeom>
                <a:avLst/>
                <a:gdLst/>
                <a:ahLst/>
                <a:cxnLst>
                  <a:cxn ang="0">
                    <a:pos x="79" y="0"/>
                  </a:cxn>
                  <a:cxn ang="0">
                    <a:pos x="0" y="79"/>
                  </a:cxn>
                  <a:cxn ang="0">
                    <a:pos x="79" y="159"/>
                  </a:cxn>
                  <a:cxn ang="0">
                    <a:pos x="159" y="79"/>
                  </a:cxn>
                  <a:cxn ang="0">
                    <a:pos x="79" y="0"/>
                  </a:cxn>
                  <a:cxn ang="0">
                    <a:pos x="122" y="115"/>
                  </a:cxn>
                  <a:cxn ang="0">
                    <a:pos x="115" y="121"/>
                  </a:cxn>
                  <a:cxn ang="0">
                    <a:pos x="43" y="121"/>
                  </a:cxn>
                  <a:cxn ang="0">
                    <a:pos x="37" y="115"/>
                  </a:cxn>
                  <a:cxn ang="0">
                    <a:pos x="37" y="42"/>
                  </a:cxn>
                  <a:cxn ang="0">
                    <a:pos x="43" y="36"/>
                  </a:cxn>
                  <a:cxn ang="0">
                    <a:pos x="115" y="36"/>
                  </a:cxn>
                  <a:cxn ang="0">
                    <a:pos x="122" y="42"/>
                  </a:cxn>
                  <a:cxn ang="0">
                    <a:pos x="122" y="115"/>
                  </a:cxn>
                  <a:cxn ang="0">
                    <a:pos x="122" y="115"/>
                  </a:cxn>
                  <a:cxn ang="0">
                    <a:pos x="122" y="115"/>
                  </a:cxn>
                </a:cxnLst>
                <a:rect l="0" t="0" r="r" b="b"/>
                <a:pathLst>
                  <a:path w="159" h="159">
                    <a:moveTo>
                      <a:pt x="79" y="0"/>
                    </a:moveTo>
                    <a:cubicBezTo>
                      <a:pt x="36" y="0"/>
                      <a:pt x="0" y="36"/>
                      <a:pt x="0" y="79"/>
                    </a:cubicBezTo>
                    <a:cubicBezTo>
                      <a:pt x="0" y="123"/>
                      <a:pt x="36" y="159"/>
                      <a:pt x="79" y="159"/>
                    </a:cubicBezTo>
                    <a:cubicBezTo>
                      <a:pt x="123" y="159"/>
                      <a:pt x="159" y="123"/>
                      <a:pt x="159" y="79"/>
                    </a:cubicBezTo>
                    <a:cubicBezTo>
                      <a:pt x="159" y="36"/>
                      <a:pt x="123" y="0"/>
                      <a:pt x="79" y="0"/>
                    </a:cubicBezTo>
                    <a:close/>
                    <a:moveTo>
                      <a:pt x="122" y="115"/>
                    </a:moveTo>
                    <a:cubicBezTo>
                      <a:pt x="122" y="119"/>
                      <a:pt x="119" y="121"/>
                      <a:pt x="115" y="121"/>
                    </a:cubicBezTo>
                    <a:cubicBezTo>
                      <a:pt x="43" y="121"/>
                      <a:pt x="43" y="121"/>
                      <a:pt x="43" y="121"/>
                    </a:cubicBezTo>
                    <a:cubicBezTo>
                      <a:pt x="40" y="121"/>
                      <a:pt x="37" y="119"/>
                      <a:pt x="37" y="115"/>
                    </a:cubicBez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39"/>
                      <a:pt x="40" y="36"/>
                      <a:pt x="43" y="36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9" y="36"/>
                      <a:pt x="122" y="39"/>
                      <a:pt x="122" y="42"/>
                    </a:cubicBezTo>
                    <a:lnTo>
                      <a:pt x="122" y="115"/>
                    </a:lnTo>
                    <a:close/>
                    <a:moveTo>
                      <a:pt x="122" y="115"/>
                    </a:moveTo>
                    <a:cubicBezTo>
                      <a:pt x="122" y="115"/>
                      <a:pt x="122" y="115"/>
                      <a:pt x="122" y="11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2"/>
              <p:cNvSpPr>
                <a:spLocks noEditPoints="1"/>
              </p:cNvSpPr>
              <p:nvPr/>
            </p:nvSpPr>
            <p:spPr bwMode="auto">
              <a:xfrm>
                <a:off x="3924300" y="2005013"/>
                <a:ext cx="53975" cy="53975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0" y="7"/>
                  </a:cxn>
                  <a:cxn ang="0">
                    <a:pos x="7" y="14"/>
                  </a:cxn>
                  <a:cxn ang="0">
                    <a:pos x="7" y="14"/>
                  </a:cxn>
                  <a:cxn ang="0">
                    <a:pos x="14" y="7"/>
                  </a:cxn>
                  <a:cxn ang="0">
                    <a:pos x="7" y="0"/>
                  </a:cxn>
                  <a:cxn ang="0">
                    <a:pos x="7" y="0"/>
                  </a:cxn>
                  <a:cxn ang="0">
                    <a:pos x="7" y="0"/>
                  </a:cxn>
                </a:cxnLst>
                <a:rect l="0" t="0" r="r" b="b"/>
                <a:pathLst>
                  <a:path w="14" h="14">
                    <a:moveTo>
                      <a:pt x="7" y="0"/>
                    </a:moveTo>
                    <a:cubicBezTo>
                      <a:pt x="3" y="0"/>
                      <a:pt x="0" y="3"/>
                      <a:pt x="0" y="7"/>
                    </a:cubicBezTo>
                    <a:cubicBezTo>
                      <a:pt x="0" y="11"/>
                      <a:pt x="3" y="14"/>
                      <a:pt x="7" y="14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2" y="14"/>
                      <a:pt x="14" y="11"/>
                      <a:pt x="14" y="7"/>
                    </a:cubicBezTo>
                    <a:cubicBezTo>
                      <a:pt x="14" y="3"/>
                      <a:pt x="12" y="0"/>
                      <a:pt x="7" y="0"/>
                    </a:cubicBezTo>
                    <a:close/>
                    <a:moveTo>
                      <a:pt x="7" y="0"/>
                    </a:moveTo>
                    <a:cubicBezTo>
                      <a:pt x="7" y="0"/>
                      <a:pt x="7" y="0"/>
                      <a:pt x="7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3771900" y="373365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3771900" y="393052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657600" y="391074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3657600" y="411736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561526" y="211907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half" idx="36"/>
          </p:nvPr>
        </p:nvSpPr>
        <p:spPr>
          <a:xfrm>
            <a:off x="1161894" y="3676501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4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37"/>
          </p:nvPr>
        </p:nvSpPr>
        <p:spPr>
          <a:xfrm flipH="1">
            <a:off x="1161894" y="3873378"/>
            <a:ext cx="1600200" cy="14458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2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endParaRPr lang="en-US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1047594" y="3853595"/>
            <a:ext cx="1828800" cy="1191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3"/>
          <p:cNvSpPr>
            <a:spLocks noGrp="1"/>
          </p:cNvSpPr>
          <p:nvPr>
            <p:ph type="body" sz="half" idx="41"/>
          </p:nvPr>
        </p:nvSpPr>
        <p:spPr>
          <a:xfrm>
            <a:off x="1047594" y="4060215"/>
            <a:ext cx="1828800" cy="387960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>
            <a:lvl1pPr marL="0" indent="0" algn="ctr"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algn="ctr"/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2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51520" y="2061926"/>
            <a:ext cx="2020948" cy="1515711"/>
          </a:xfrm>
          <a:prstGeom prst="ellipse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4" accel="50000" decel="5000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>
        <p:tmplLst>
          <p:tmpl lvl="1">
            <p:tnLst>
              <p:par>
                <p:cTn presetID="10" presetClass="entr" presetSubtype="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4" accel="50000" decel="50000" fill="hold" nodeType="afterEffect" nodePh="1">
                  <p:stCondLst>
                    <p:cond delay="0"/>
                  </p:stCondLst>
                  <p:endCondLst>
                    <p:cond evt="begin"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animBg="1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Apple iMac 27_ Final_72dpi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60173" y="1811983"/>
            <a:ext cx="3135374" cy="1891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0060" y="1900445"/>
            <a:ext cx="2895600" cy="1233487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3" name="Picture 12" descr="apple_monitor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90575" y="1801116"/>
            <a:ext cx="3225798" cy="2618484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1258889" y="1940408"/>
            <a:ext cx="2587686" cy="1608580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7686" h="2144773">
                <a:moveTo>
                  <a:pt x="0" y="0"/>
                </a:moveTo>
                <a:lnTo>
                  <a:pt x="2468623" y="490538"/>
                </a:lnTo>
                <a:lnTo>
                  <a:pt x="2587686" y="2120961"/>
                </a:lnTo>
                <a:lnTo>
                  <a:pt x="123825" y="2144773"/>
                </a:lnTo>
                <a:lnTo>
                  <a:pt x="0" y="0"/>
                </a:lnTo>
                <a:close/>
              </a:path>
            </a:pathLst>
          </a:custGeom>
          <a:ln w="3175">
            <a:noFill/>
          </a:ln>
        </p:spPr>
        <p:txBody>
          <a:bodyPr wrap="none" tIns="0" bIns="274320" anchor="b"/>
          <a:lstStyle>
            <a:lvl1pPr algn="ctr" rtl="0"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c-Angled-PSD-MockUp-P-Px.com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rot="625501" flipH="1">
            <a:off x="358775" y="2259566"/>
            <a:ext cx="4208463" cy="1803627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664691">
            <a:off x="779908" y="2396209"/>
            <a:ext cx="3377202" cy="1240817"/>
          </a:xfrm>
          <a:custGeom>
            <a:avLst/>
            <a:gdLst>
              <a:gd name="connsiteX0" fmla="*/ 0 w 2020948"/>
              <a:gd name="connsiteY0" fmla="*/ 0 h 2020948"/>
              <a:gd name="connsiteX1" fmla="*/ 2020948 w 2020948"/>
              <a:gd name="connsiteY1" fmla="*/ 0 h 2020948"/>
              <a:gd name="connsiteX2" fmla="*/ 2020948 w 2020948"/>
              <a:gd name="connsiteY2" fmla="*/ 2020948 h 2020948"/>
              <a:gd name="connsiteX3" fmla="*/ 0 w 2020948"/>
              <a:gd name="connsiteY3" fmla="*/ 2020948 h 2020948"/>
              <a:gd name="connsiteX4" fmla="*/ 0 w 2020948"/>
              <a:gd name="connsiteY4" fmla="*/ 0 h 2020948"/>
              <a:gd name="connsiteX0" fmla="*/ 0 w 2468623"/>
              <a:gd name="connsiteY0" fmla="*/ 0 h 2020948"/>
              <a:gd name="connsiteX1" fmla="*/ 2468623 w 2468623"/>
              <a:gd name="connsiteY1" fmla="*/ 490538 h 2020948"/>
              <a:gd name="connsiteX2" fmla="*/ 2020948 w 2468623"/>
              <a:gd name="connsiteY2" fmla="*/ 2020948 h 2020948"/>
              <a:gd name="connsiteX3" fmla="*/ 0 w 2468623"/>
              <a:gd name="connsiteY3" fmla="*/ 2020948 h 2020948"/>
              <a:gd name="connsiteX4" fmla="*/ 0 w 2468623"/>
              <a:gd name="connsiteY4" fmla="*/ 0 h 2020948"/>
              <a:gd name="connsiteX0" fmla="*/ 0 w 2468623"/>
              <a:gd name="connsiteY0" fmla="*/ 0 h 2144773"/>
              <a:gd name="connsiteX1" fmla="*/ 2468623 w 2468623"/>
              <a:gd name="connsiteY1" fmla="*/ 490538 h 2144773"/>
              <a:gd name="connsiteX2" fmla="*/ 2020948 w 2468623"/>
              <a:gd name="connsiteY2" fmla="*/ 2020948 h 2144773"/>
              <a:gd name="connsiteX3" fmla="*/ 123825 w 2468623"/>
              <a:gd name="connsiteY3" fmla="*/ 2144773 h 2144773"/>
              <a:gd name="connsiteX4" fmla="*/ 0 w 2468623"/>
              <a:gd name="connsiteY4" fmla="*/ 0 h 2144773"/>
              <a:gd name="connsiteX0" fmla="*/ 0 w 2587686"/>
              <a:gd name="connsiteY0" fmla="*/ 0 h 2144773"/>
              <a:gd name="connsiteX1" fmla="*/ 2468623 w 2587686"/>
              <a:gd name="connsiteY1" fmla="*/ 490538 h 2144773"/>
              <a:gd name="connsiteX2" fmla="*/ 2587686 w 2587686"/>
              <a:gd name="connsiteY2" fmla="*/ 2120961 h 2144773"/>
              <a:gd name="connsiteX3" fmla="*/ 123825 w 2587686"/>
              <a:gd name="connsiteY3" fmla="*/ 2144773 h 2144773"/>
              <a:gd name="connsiteX4" fmla="*/ 0 w 2587686"/>
              <a:gd name="connsiteY4" fmla="*/ 0 h 2144773"/>
              <a:gd name="connsiteX0" fmla="*/ 1235075 w 3822761"/>
              <a:gd name="connsiteY0" fmla="*/ 0 h 2120961"/>
              <a:gd name="connsiteX1" fmla="*/ 3703698 w 3822761"/>
              <a:gd name="connsiteY1" fmla="*/ 490538 h 2120961"/>
              <a:gd name="connsiteX2" fmla="*/ 3822761 w 3822761"/>
              <a:gd name="connsiteY2" fmla="*/ 2120961 h 2120961"/>
              <a:gd name="connsiteX3" fmla="*/ 0 w 3822761"/>
              <a:gd name="connsiteY3" fmla="*/ 474723 h 2120961"/>
              <a:gd name="connsiteX4" fmla="*/ 1235075 w 3822761"/>
              <a:gd name="connsiteY4" fmla="*/ 0 h 2120961"/>
              <a:gd name="connsiteX0" fmla="*/ 949325 w 3537011"/>
              <a:gd name="connsiteY0" fmla="*/ 0 h 2120961"/>
              <a:gd name="connsiteX1" fmla="*/ 3417948 w 3537011"/>
              <a:gd name="connsiteY1" fmla="*/ 490538 h 2120961"/>
              <a:gd name="connsiteX2" fmla="*/ 3537011 w 3537011"/>
              <a:gd name="connsiteY2" fmla="*/ 2120961 h 2120961"/>
              <a:gd name="connsiteX3" fmla="*/ 0 w 3537011"/>
              <a:gd name="connsiteY3" fmla="*/ 531873 h 2120961"/>
              <a:gd name="connsiteX4" fmla="*/ 949325 w 3537011"/>
              <a:gd name="connsiteY4" fmla="*/ 0 h 2120961"/>
              <a:gd name="connsiteX0" fmla="*/ 1258888 w 3846574"/>
              <a:gd name="connsiteY0" fmla="*/ 0 h 2120961"/>
              <a:gd name="connsiteX1" fmla="*/ 3727511 w 3846574"/>
              <a:gd name="connsiteY1" fmla="*/ 490538 h 2120961"/>
              <a:gd name="connsiteX2" fmla="*/ 3846574 w 3846574"/>
              <a:gd name="connsiteY2" fmla="*/ 2120961 h 2120961"/>
              <a:gd name="connsiteX3" fmla="*/ 0 w 3846574"/>
              <a:gd name="connsiteY3" fmla="*/ 460436 h 2120961"/>
              <a:gd name="connsiteX4" fmla="*/ 1258888 w 3846574"/>
              <a:gd name="connsiteY4" fmla="*/ 0 h 2120961"/>
              <a:gd name="connsiteX0" fmla="*/ 1258888 w 3727511"/>
              <a:gd name="connsiteY0" fmla="*/ 0 h 1658999"/>
              <a:gd name="connsiteX1" fmla="*/ 3727511 w 3727511"/>
              <a:gd name="connsiteY1" fmla="*/ 490538 h 1658999"/>
              <a:gd name="connsiteX2" fmla="*/ 2079686 w 3727511"/>
              <a:gd name="connsiteY2" fmla="*/ 1658999 h 1658999"/>
              <a:gd name="connsiteX3" fmla="*/ 0 w 3727511"/>
              <a:gd name="connsiteY3" fmla="*/ 460436 h 1658999"/>
              <a:gd name="connsiteX4" fmla="*/ 1258888 w 3727511"/>
              <a:gd name="connsiteY4" fmla="*/ 0 h 1658999"/>
              <a:gd name="connsiteX0" fmla="*/ 1258888 w 3379849"/>
              <a:gd name="connsiteY0" fmla="*/ 0 h 1658999"/>
              <a:gd name="connsiteX1" fmla="*/ 3379849 w 3379849"/>
              <a:gd name="connsiteY1" fmla="*/ 1090613 h 1658999"/>
              <a:gd name="connsiteX2" fmla="*/ 2079686 w 3379849"/>
              <a:gd name="connsiteY2" fmla="*/ 1658999 h 1658999"/>
              <a:gd name="connsiteX3" fmla="*/ 0 w 3379849"/>
              <a:gd name="connsiteY3" fmla="*/ 460436 h 1658999"/>
              <a:gd name="connsiteX4" fmla="*/ 1258888 w 3379849"/>
              <a:gd name="connsiteY4" fmla="*/ 0 h 1658999"/>
              <a:gd name="connsiteX0" fmla="*/ 1258888 w 3379849"/>
              <a:gd name="connsiteY0" fmla="*/ 0 h 1767183"/>
              <a:gd name="connsiteX1" fmla="*/ 3379849 w 3379849"/>
              <a:gd name="connsiteY1" fmla="*/ 1090613 h 1767183"/>
              <a:gd name="connsiteX2" fmla="*/ 2270721 w 3379849"/>
              <a:gd name="connsiteY2" fmla="*/ 1767183 h 1767183"/>
              <a:gd name="connsiteX3" fmla="*/ 0 w 3379849"/>
              <a:gd name="connsiteY3" fmla="*/ 460436 h 1767183"/>
              <a:gd name="connsiteX4" fmla="*/ 1258888 w 3379849"/>
              <a:gd name="connsiteY4" fmla="*/ 0 h 1767183"/>
              <a:gd name="connsiteX0" fmla="*/ 1258888 w 3379849"/>
              <a:gd name="connsiteY0" fmla="*/ 0 h 1662757"/>
              <a:gd name="connsiteX1" fmla="*/ 3379849 w 3379849"/>
              <a:gd name="connsiteY1" fmla="*/ 1090613 h 1662757"/>
              <a:gd name="connsiteX2" fmla="*/ 2085275 w 3379849"/>
              <a:gd name="connsiteY2" fmla="*/ 1662757 h 1662757"/>
              <a:gd name="connsiteX3" fmla="*/ 0 w 3379849"/>
              <a:gd name="connsiteY3" fmla="*/ 460436 h 1662757"/>
              <a:gd name="connsiteX4" fmla="*/ 1258888 w 3379849"/>
              <a:gd name="connsiteY4" fmla="*/ 0 h 1662757"/>
              <a:gd name="connsiteX0" fmla="*/ 1258888 w 3483193"/>
              <a:gd name="connsiteY0" fmla="*/ 0 h 1662757"/>
              <a:gd name="connsiteX1" fmla="*/ 3483193 w 3483193"/>
              <a:gd name="connsiteY1" fmla="*/ 1172289 h 1662757"/>
              <a:gd name="connsiteX2" fmla="*/ 2085275 w 3483193"/>
              <a:gd name="connsiteY2" fmla="*/ 1662757 h 1662757"/>
              <a:gd name="connsiteX3" fmla="*/ 0 w 3483193"/>
              <a:gd name="connsiteY3" fmla="*/ 460436 h 1662757"/>
              <a:gd name="connsiteX4" fmla="*/ 1258888 w 3483193"/>
              <a:gd name="connsiteY4" fmla="*/ 0 h 1662757"/>
              <a:gd name="connsiteX0" fmla="*/ 1258888 w 3366841"/>
              <a:gd name="connsiteY0" fmla="*/ 0 h 1662757"/>
              <a:gd name="connsiteX1" fmla="*/ 3366841 w 3366841"/>
              <a:gd name="connsiteY1" fmla="*/ 1073747 h 1662757"/>
              <a:gd name="connsiteX2" fmla="*/ 2085275 w 3366841"/>
              <a:gd name="connsiteY2" fmla="*/ 1662757 h 1662757"/>
              <a:gd name="connsiteX3" fmla="*/ 0 w 3366841"/>
              <a:gd name="connsiteY3" fmla="*/ 460436 h 1662757"/>
              <a:gd name="connsiteX4" fmla="*/ 1258888 w 3366841"/>
              <a:gd name="connsiteY4" fmla="*/ 0 h 1662757"/>
              <a:gd name="connsiteX0" fmla="*/ 1099489 w 3366841"/>
              <a:gd name="connsiteY0" fmla="*/ 0 h 1510224"/>
              <a:gd name="connsiteX1" fmla="*/ 3366841 w 3366841"/>
              <a:gd name="connsiteY1" fmla="*/ 921214 h 1510224"/>
              <a:gd name="connsiteX2" fmla="*/ 2085275 w 3366841"/>
              <a:gd name="connsiteY2" fmla="*/ 1510224 h 1510224"/>
              <a:gd name="connsiteX3" fmla="*/ 0 w 3366841"/>
              <a:gd name="connsiteY3" fmla="*/ 307903 h 1510224"/>
              <a:gd name="connsiteX4" fmla="*/ 1099489 w 3366841"/>
              <a:gd name="connsiteY4" fmla="*/ 0 h 1510224"/>
              <a:gd name="connsiteX0" fmla="*/ 1241108 w 3366841"/>
              <a:gd name="connsiteY0" fmla="*/ 0 h 1654423"/>
              <a:gd name="connsiteX1" fmla="*/ 3366841 w 3366841"/>
              <a:gd name="connsiteY1" fmla="*/ 1065413 h 1654423"/>
              <a:gd name="connsiteX2" fmla="*/ 2085275 w 3366841"/>
              <a:gd name="connsiteY2" fmla="*/ 1654423 h 1654423"/>
              <a:gd name="connsiteX3" fmla="*/ 0 w 3366841"/>
              <a:gd name="connsiteY3" fmla="*/ 452102 h 1654423"/>
              <a:gd name="connsiteX4" fmla="*/ 1241108 w 3366841"/>
              <a:gd name="connsiteY4" fmla="*/ 0 h 1654423"/>
              <a:gd name="connsiteX0" fmla="*/ 817301 w 2943034"/>
              <a:gd name="connsiteY0" fmla="*/ 0 h 1654423"/>
              <a:gd name="connsiteX1" fmla="*/ 2943034 w 2943034"/>
              <a:gd name="connsiteY1" fmla="*/ 1065413 h 1654423"/>
              <a:gd name="connsiteX2" fmla="*/ 1661468 w 2943034"/>
              <a:gd name="connsiteY2" fmla="*/ 1654423 h 1654423"/>
              <a:gd name="connsiteX3" fmla="*/ 0 w 2943034"/>
              <a:gd name="connsiteY3" fmla="*/ 509857 h 1654423"/>
              <a:gd name="connsiteX4" fmla="*/ 817301 w 2943034"/>
              <a:gd name="connsiteY4" fmla="*/ 0 h 1654423"/>
              <a:gd name="connsiteX0" fmla="*/ 1251469 w 3377202"/>
              <a:gd name="connsiteY0" fmla="*/ 0 h 1654423"/>
              <a:gd name="connsiteX1" fmla="*/ 3377202 w 3377202"/>
              <a:gd name="connsiteY1" fmla="*/ 1065413 h 1654423"/>
              <a:gd name="connsiteX2" fmla="*/ 2095636 w 3377202"/>
              <a:gd name="connsiteY2" fmla="*/ 1654423 h 1654423"/>
              <a:gd name="connsiteX3" fmla="*/ 0 w 3377202"/>
              <a:gd name="connsiteY3" fmla="*/ 473543 h 1654423"/>
              <a:gd name="connsiteX4" fmla="*/ 1251469 w 3377202"/>
              <a:gd name="connsiteY4" fmla="*/ 0 h 1654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77202" h="1654423">
                <a:moveTo>
                  <a:pt x="1251469" y="0"/>
                </a:moveTo>
                <a:lnTo>
                  <a:pt x="3377202" y="1065413"/>
                </a:lnTo>
                <a:lnTo>
                  <a:pt x="2095636" y="1654423"/>
                </a:lnTo>
                <a:lnTo>
                  <a:pt x="0" y="473543"/>
                </a:lnTo>
                <a:lnTo>
                  <a:pt x="1251469" y="0"/>
                </a:lnTo>
                <a:close/>
              </a:path>
            </a:pathLst>
          </a:custGeom>
          <a:ln w="3175">
            <a:solidFill>
              <a:schemeClr val="bg1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none" tIns="0" bIns="548640" anchor="b"/>
          <a:lstStyle>
            <a:lvl1pPr algn="ctr" rtl="0">
              <a:buNone/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PSD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434350" y="1860250"/>
            <a:ext cx="3709651" cy="327372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54325">
            <a:off x="6055150" y="2315165"/>
            <a:ext cx="1444752" cy="1913382"/>
          </a:xfrm>
          <a:prstGeom prst="rect">
            <a:avLst/>
          </a:prstGeom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1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0" y="3495675"/>
            <a:ext cx="9144000" cy="164782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14" descr="iPhone5s_Flat_Vitaly_Medvedev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05200" y="1841816"/>
            <a:ext cx="2133600" cy="2750757"/>
          </a:xfrm>
          <a:prstGeom prst="rect">
            <a:avLst/>
          </a:prstGeom>
        </p:spPr>
      </p:pic>
      <p:sp>
        <p:nvSpPr>
          <p:cNvPr id="17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45719" y="2219324"/>
            <a:ext cx="1452565" cy="1910955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</p:bld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mockup-whit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 flipH="1">
            <a:off x="0" y="1806309"/>
            <a:ext cx="4104136" cy="333719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1754418">
            <a:off x="2481322" y="1931379"/>
            <a:ext cx="901846" cy="1695816"/>
          </a:xfrm>
          <a:custGeom>
            <a:avLst/>
            <a:gdLst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0 w 1452565"/>
              <a:gd name="connsiteY3" fmla="*/ 2547940 h 2547940"/>
              <a:gd name="connsiteX4" fmla="*/ 0 w 1452565"/>
              <a:gd name="connsiteY4" fmla="*/ 0 h 2547940"/>
              <a:gd name="connsiteX0" fmla="*/ 0 w 1452565"/>
              <a:gd name="connsiteY0" fmla="*/ 0 h 2547940"/>
              <a:gd name="connsiteX1" fmla="*/ 1452565 w 1452565"/>
              <a:gd name="connsiteY1" fmla="*/ 0 h 2547940"/>
              <a:gd name="connsiteX2" fmla="*/ 1452565 w 1452565"/>
              <a:gd name="connsiteY2" fmla="*/ 2547940 h 2547940"/>
              <a:gd name="connsiteX3" fmla="*/ 68614 w 1452565"/>
              <a:gd name="connsiteY3" fmla="*/ 1643533 h 2547940"/>
              <a:gd name="connsiteX4" fmla="*/ 0 w 1452565"/>
              <a:gd name="connsiteY4" fmla="*/ 0 h 2547940"/>
              <a:gd name="connsiteX0" fmla="*/ 3471 w 1456036"/>
              <a:gd name="connsiteY0" fmla="*/ 0 h 2547940"/>
              <a:gd name="connsiteX1" fmla="*/ 1456036 w 1456036"/>
              <a:gd name="connsiteY1" fmla="*/ 0 h 2547940"/>
              <a:gd name="connsiteX2" fmla="*/ 1456036 w 1456036"/>
              <a:gd name="connsiteY2" fmla="*/ 2547940 h 2547940"/>
              <a:gd name="connsiteX3" fmla="*/ 0 w 1456036"/>
              <a:gd name="connsiteY3" fmla="*/ 2047750 h 2547940"/>
              <a:gd name="connsiteX4" fmla="*/ 3471 w 1456036"/>
              <a:gd name="connsiteY4" fmla="*/ 0 h 254794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937317 w 1456036"/>
              <a:gd name="connsiteY2" fmla="*/ 1972324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22550 w 1456036"/>
              <a:gd name="connsiteY2" fmla="*/ 1767312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1456036"/>
              <a:gd name="connsiteY0" fmla="*/ 0 h 2047750"/>
              <a:gd name="connsiteX1" fmla="*/ 1456036 w 1456036"/>
              <a:gd name="connsiteY1" fmla="*/ 0 h 2047750"/>
              <a:gd name="connsiteX2" fmla="*/ 881484 w 1456036"/>
              <a:gd name="connsiteY2" fmla="*/ 1872588 h 2047750"/>
              <a:gd name="connsiteX3" fmla="*/ 0 w 1456036"/>
              <a:gd name="connsiteY3" fmla="*/ 2047750 h 2047750"/>
              <a:gd name="connsiteX4" fmla="*/ 3471 w 1456036"/>
              <a:gd name="connsiteY4" fmla="*/ 0 h 2047750"/>
              <a:gd name="connsiteX0" fmla="*/ 3471 w 881484"/>
              <a:gd name="connsiteY0" fmla="*/ 202204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3471 w 881484"/>
              <a:gd name="connsiteY4" fmla="*/ 202204 h 2249954"/>
              <a:gd name="connsiteX0" fmla="*/ 131335 w 881484"/>
              <a:gd name="connsiteY0" fmla="*/ 261617 h 2249954"/>
              <a:gd name="connsiteX1" fmla="*/ 855264 w 881484"/>
              <a:gd name="connsiteY1" fmla="*/ 0 h 2249954"/>
              <a:gd name="connsiteX2" fmla="*/ 881484 w 881484"/>
              <a:gd name="connsiteY2" fmla="*/ 2074792 h 2249954"/>
              <a:gd name="connsiteX3" fmla="*/ 0 w 881484"/>
              <a:gd name="connsiteY3" fmla="*/ 2249954 h 2249954"/>
              <a:gd name="connsiteX4" fmla="*/ 131335 w 881484"/>
              <a:gd name="connsiteY4" fmla="*/ 261617 h 2249954"/>
              <a:gd name="connsiteX0" fmla="*/ 0 w 884667"/>
              <a:gd name="connsiteY0" fmla="*/ 242316 h 2249954"/>
              <a:gd name="connsiteX1" fmla="*/ 858447 w 884667"/>
              <a:gd name="connsiteY1" fmla="*/ 0 h 2249954"/>
              <a:gd name="connsiteX2" fmla="*/ 884667 w 884667"/>
              <a:gd name="connsiteY2" fmla="*/ 2074792 h 2249954"/>
              <a:gd name="connsiteX3" fmla="*/ 3183 w 884667"/>
              <a:gd name="connsiteY3" fmla="*/ 2249954 h 2249954"/>
              <a:gd name="connsiteX4" fmla="*/ 0 w 884667"/>
              <a:gd name="connsiteY4" fmla="*/ 242316 h 2249954"/>
              <a:gd name="connsiteX0" fmla="*/ 0 w 899958"/>
              <a:gd name="connsiteY0" fmla="*/ 242316 h 2249954"/>
              <a:gd name="connsiteX1" fmla="*/ 858447 w 899958"/>
              <a:gd name="connsiteY1" fmla="*/ 0 h 2249954"/>
              <a:gd name="connsiteX2" fmla="*/ 899958 w 899958"/>
              <a:gd name="connsiteY2" fmla="*/ 2082607 h 2249954"/>
              <a:gd name="connsiteX3" fmla="*/ 3183 w 899958"/>
              <a:gd name="connsiteY3" fmla="*/ 2249954 h 2249954"/>
              <a:gd name="connsiteX4" fmla="*/ 0 w 899958"/>
              <a:gd name="connsiteY4" fmla="*/ 242316 h 2249954"/>
              <a:gd name="connsiteX0" fmla="*/ 0 w 899958"/>
              <a:gd name="connsiteY0" fmla="*/ 194039 h 2201677"/>
              <a:gd name="connsiteX1" fmla="*/ 806332 w 899958"/>
              <a:gd name="connsiteY1" fmla="*/ 0 h 2201677"/>
              <a:gd name="connsiteX2" fmla="*/ 899958 w 899958"/>
              <a:gd name="connsiteY2" fmla="*/ 2034330 h 2201677"/>
              <a:gd name="connsiteX3" fmla="*/ 3183 w 899958"/>
              <a:gd name="connsiteY3" fmla="*/ 2201677 h 2201677"/>
              <a:gd name="connsiteX4" fmla="*/ 0 w 899958"/>
              <a:gd name="connsiteY4" fmla="*/ 194039 h 2201677"/>
              <a:gd name="connsiteX0" fmla="*/ 0 w 899958"/>
              <a:gd name="connsiteY0" fmla="*/ 247883 h 2255521"/>
              <a:gd name="connsiteX1" fmla="*/ 863517 w 899958"/>
              <a:gd name="connsiteY1" fmla="*/ 0 h 2255521"/>
              <a:gd name="connsiteX2" fmla="*/ 899958 w 899958"/>
              <a:gd name="connsiteY2" fmla="*/ 2088174 h 2255521"/>
              <a:gd name="connsiteX3" fmla="*/ 3183 w 899958"/>
              <a:gd name="connsiteY3" fmla="*/ 2255521 h 2255521"/>
              <a:gd name="connsiteX4" fmla="*/ 0 w 899958"/>
              <a:gd name="connsiteY4" fmla="*/ 247883 h 2255521"/>
              <a:gd name="connsiteX0" fmla="*/ 1888 w 901846"/>
              <a:gd name="connsiteY0" fmla="*/ 247883 h 2261088"/>
              <a:gd name="connsiteX1" fmla="*/ 865405 w 901846"/>
              <a:gd name="connsiteY1" fmla="*/ 0 h 2261088"/>
              <a:gd name="connsiteX2" fmla="*/ 901846 w 901846"/>
              <a:gd name="connsiteY2" fmla="*/ 2088174 h 2261088"/>
              <a:gd name="connsiteX3" fmla="*/ 0 w 901846"/>
              <a:gd name="connsiteY3" fmla="*/ 2261088 h 2261088"/>
              <a:gd name="connsiteX4" fmla="*/ 1888 w 901846"/>
              <a:gd name="connsiteY4" fmla="*/ 247883 h 226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1846" h="2261088">
                <a:moveTo>
                  <a:pt x="1888" y="247883"/>
                </a:moveTo>
                <a:lnTo>
                  <a:pt x="865405" y="0"/>
                </a:lnTo>
                <a:lnTo>
                  <a:pt x="901846" y="2088174"/>
                </a:lnTo>
                <a:lnTo>
                  <a:pt x="0" y="2261088"/>
                </a:lnTo>
                <a:cubicBezTo>
                  <a:pt x="629" y="1590020"/>
                  <a:pt x="1259" y="918951"/>
                  <a:pt x="1888" y="24788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FFC00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03797" y="1727278"/>
            <a:ext cx="1736406" cy="2730422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835400" y="2131219"/>
            <a:ext cx="1473200" cy="194786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822960" anchor="b"/>
          <a:lstStyle>
            <a:lvl1pPr algn="ctr" rtl="0">
              <a:buNone/>
              <a:defRPr sz="105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al 15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hone-5-Black-Whit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624156" y="2009775"/>
            <a:ext cx="1381088" cy="2171700"/>
          </a:xfrm>
          <a:prstGeom prst="rect">
            <a:avLst/>
          </a:prstGeom>
        </p:spPr>
      </p:pic>
      <p:sp>
        <p:nvSpPr>
          <p:cNvPr id="15" name="Oval 14"/>
          <p:cNvSpPr/>
          <p:nvPr userDrawn="1"/>
        </p:nvSpPr>
        <p:spPr bwMode="auto">
          <a:xfrm>
            <a:off x="4229100" y="2838450"/>
            <a:ext cx="685800" cy="514350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S</a:t>
            </a:r>
          </a:p>
        </p:txBody>
      </p:sp>
      <p:sp>
        <p:nvSpPr>
          <p:cNvPr id="20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2702826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pic>
        <p:nvPicPr>
          <p:cNvPr id="21" name="Picture 20" descr="iPhone-5-Black-White-Moc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134208" y="2009775"/>
            <a:ext cx="1385636" cy="2171700"/>
          </a:xfrm>
          <a:prstGeom prst="rect">
            <a:avLst/>
          </a:prstGeom>
        </p:spPr>
      </p:pic>
      <p:sp>
        <p:nvSpPr>
          <p:cNvPr id="22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5226265" y="2314563"/>
            <a:ext cx="1223748" cy="1583529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0" grpId="0" animBg="1"/>
      <p:bldP spid="22" grpId="0" animBg="1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2" name="Picture 11" descr="iPhone-5-three-quarter-perspective-Mockup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1701" y="1390650"/>
            <a:ext cx="2251641" cy="3381375"/>
          </a:xfrm>
          <a:prstGeom prst="rect">
            <a:avLst/>
          </a:prstGeom>
        </p:spPr>
      </p:pic>
      <p:sp>
        <p:nvSpPr>
          <p:cNvPr id="14" name="Picture Placeholder 7"/>
          <p:cNvSpPr>
            <a:spLocks noGrp="1"/>
          </p:cNvSpPr>
          <p:nvPr>
            <p:ph type="pic" sz="quarter" idx="45" hasCustomPrompt="1"/>
          </p:nvPr>
        </p:nvSpPr>
        <p:spPr>
          <a:xfrm>
            <a:off x="1508760" y="1960245"/>
            <a:ext cx="1234440" cy="2257425"/>
          </a:xfrm>
          <a:custGeom>
            <a:avLst/>
            <a:gdLst>
              <a:gd name="connsiteX0" fmla="*/ 0 w 1223748"/>
              <a:gd name="connsiteY0" fmla="*/ 0 h 2960370"/>
              <a:gd name="connsiteX1" fmla="*/ 1223748 w 1223748"/>
              <a:gd name="connsiteY1" fmla="*/ 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102884 w 1223748"/>
              <a:gd name="connsiteY1" fmla="*/ 40005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23748 w 1223748"/>
              <a:gd name="connsiteY2" fmla="*/ 296037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2960370"/>
              <a:gd name="connsiteX1" fmla="*/ 1223748 w 1223748"/>
              <a:gd name="connsiteY1" fmla="*/ 224790 h 2960370"/>
              <a:gd name="connsiteX2" fmla="*/ 1208640 w 1223748"/>
              <a:gd name="connsiteY2" fmla="*/ 2644140 h 2960370"/>
              <a:gd name="connsiteX3" fmla="*/ 0 w 1223748"/>
              <a:gd name="connsiteY3" fmla="*/ 2960370 h 2960370"/>
              <a:gd name="connsiteX4" fmla="*/ 0 w 1223748"/>
              <a:gd name="connsiteY4" fmla="*/ 0 h 2960370"/>
              <a:gd name="connsiteX0" fmla="*/ 0 w 1223748"/>
              <a:gd name="connsiteY0" fmla="*/ 0 h 3009900"/>
              <a:gd name="connsiteX1" fmla="*/ 1223748 w 1223748"/>
              <a:gd name="connsiteY1" fmla="*/ 224790 h 3009900"/>
              <a:gd name="connsiteX2" fmla="*/ 1223748 w 1223748"/>
              <a:gd name="connsiteY2" fmla="*/ 3009900 h 3009900"/>
              <a:gd name="connsiteX3" fmla="*/ 0 w 1223748"/>
              <a:gd name="connsiteY3" fmla="*/ 2960370 h 3009900"/>
              <a:gd name="connsiteX4" fmla="*/ 0 w 1223748"/>
              <a:gd name="connsiteY4" fmla="*/ 0 h 3009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3748" h="3009900">
                <a:moveTo>
                  <a:pt x="0" y="0"/>
                </a:moveTo>
                <a:lnTo>
                  <a:pt x="1223748" y="224790"/>
                </a:lnTo>
                <a:lnTo>
                  <a:pt x="1223748" y="3009900"/>
                </a:lnTo>
                <a:lnTo>
                  <a:pt x="0" y="296037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wrap="none" tIns="0" bIns="731520" anchor="b"/>
          <a:lstStyle>
            <a:lvl1pPr algn="ctr" rtl="0">
              <a:buNone/>
              <a:defRPr sz="9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Macbook Air - Fully Scalable PSD for Free Download - cssauthor.com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45656" y="1827068"/>
            <a:ext cx="4252688" cy="1710545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87305" y="1944292"/>
            <a:ext cx="2769393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79400" y="1928668"/>
            <a:ext cx="4252688" cy="1710545"/>
            <a:chOff x="228600" y="1312141"/>
            <a:chExt cx="4252688" cy="2280726"/>
          </a:xfrm>
        </p:grpSpPr>
        <p:pic>
          <p:nvPicPr>
            <p:cNvPr id="15" name="Picture 14" descr="Macbook Air - Fully Scalable PSD for Free Download - cssauthor.com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28600" y="1312141"/>
              <a:ext cx="4252688" cy="2280726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 userDrawn="1"/>
          </p:nvSpPr>
          <p:spPr bwMode="auto">
            <a:xfrm>
              <a:off x="935719" y="1466850"/>
              <a:ext cx="2838450" cy="173736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8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88424" y="2045892"/>
            <a:ext cx="2834640" cy="130373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14" name="Picture 13" descr="iPad-Air-Black-Perspective-by-GWEN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059" y="2061306"/>
            <a:ext cx="4215398" cy="2282094"/>
          </a:xfrm>
          <a:prstGeom prst="rect">
            <a:avLst/>
          </a:prstGeom>
        </p:spPr>
      </p:pic>
      <p:sp>
        <p:nvSpPr>
          <p:cNvPr id="15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894674">
            <a:off x="868934" y="2325787"/>
            <a:ext cx="2973148" cy="1521785"/>
          </a:xfrm>
          <a:custGeom>
            <a:avLst/>
            <a:gdLst>
              <a:gd name="connsiteX0" fmla="*/ 0 w 2834640"/>
              <a:gd name="connsiteY0" fmla="*/ 0 h 1674772"/>
              <a:gd name="connsiteX1" fmla="*/ 2834640 w 2834640"/>
              <a:gd name="connsiteY1" fmla="*/ 0 h 1674772"/>
              <a:gd name="connsiteX2" fmla="*/ 2834640 w 2834640"/>
              <a:gd name="connsiteY2" fmla="*/ 1674772 h 1674772"/>
              <a:gd name="connsiteX3" fmla="*/ 0 w 2834640"/>
              <a:gd name="connsiteY3" fmla="*/ 1674772 h 1674772"/>
              <a:gd name="connsiteX4" fmla="*/ 0 w 2834640"/>
              <a:gd name="connsiteY4" fmla="*/ 0 h 1674772"/>
              <a:gd name="connsiteX0" fmla="*/ 0 w 2834640"/>
              <a:gd name="connsiteY0" fmla="*/ 0 h 2029047"/>
              <a:gd name="connsiteX1" fmla="*/ 2834640 w 2834640"/>
              <a:gd name="connsiteY1" fmla="*/ 0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94834 w 2834640"/>
              <a:gd name="connsiteY1" fmla="*/ 56358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213805 w 2834640"/>
              <a:gd name="connsiteY1" fmla="*/ 1782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834640"/>
              <a:gd name="connsiteY0" fmla="*/ 0 h 2029047"/>
              <a:gd name="connsiteX1" fmla="*/ 2385347 w 2834640"/>
              <a:gd name="connsiteY1" fmla="*/ 27142 h 2029047"/>
              <a:gd name="connsiteX2" fmla="*/ 2834640 w 2834640"/>
              <a:gd name="connsiteY2" fmla="*/ 1674772 h 2029047"/>
              <a:gd name="connsiteX3" fmla="*/ 299871 w 2834640"/>
              <a:gd name="connsiteY3" fmla="*/ 2029047 h 2029047"/>
              <a:gd name="connsiteX4" fmla="*/ 0 w 2834640"/>
              <a:gd name="connsiteY4" fmla="*/ 0 h 2029047"/>
              <a:gd name="connsiteX0" fmla="*/ 0 w 2973148"/>
              <a:gd name="connsiteY0" fmla="*/ 0 h 2029047"/>
              <a:gd name="connsiteX1" fmla="*/ 2385347 w 2973148"/>
              <a:gd name="connsiteY1" fmla="*/ 27142 h 2029047"/>
              <a:gd name="connsiteX2" fmla="*/ 2973148 w 2973148"/>
              <a:gd name="connsiteY2" fmla="*/ 1832020 h 2029047"/>
              <a:gd name="connsiteX3" fmla="*/ 299871 w 2973148"/>
              <a:gd name="connsiteY3" fmla="*/ 2029047 h 2029047"/>
              <a:gd name="connsiteX4" fmla="*/ 0 w 2973148"/>
              <a:gd name="connsiteY4" fmla="*/ 0 h 2029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73148" h="2029047">
                <a:moveTo>
                  <a:pt x="0" y="0"/>
                </a:moveTo>
                <a:lnTo>
                  <a:pt x="2385347" y="27142"/>
                </a:lnTo>
                <a:lnTo>
                  <a:pt x="2973148" y="1832020"/>
                </a:lnTo>
                <a:lnTo>
                  <a:pt x="299871" y="20290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pic>
        <p:nvPicPr>
          <p:cNvPr id="42" name="Picture 41" descr="1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2328301" y="1838175"/>
            <a:ext cx="4487398" cy="1577420"/>
          </a:xfrm>
          <a:prstGeom prst="rect">
            <a:avLst/>
          </a:prstGeom>
        </p:spPr>
      </p:pic>
      <p:pic>
        <p:nvPicPr>
          <p:cNvPr id="43" name="Picture 42" descr="2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2350287" y="1556263"/>
            <a:ext cx="4443426" cy="1561961"/>
          </a:xfrm>
          <a:prstGeom prst="rect">
            <a:avLst/>
          </a:prstGeom>
        </p:spPr>
      </p:pic>
      <p:sp>
        <p:nvSpPr>
          <p:cNvPr id="44" name="Picture Placeholder 7"/>
          <p:cNvSpPr>
            <a:spLocks noGrp="1"/>
          </p:cNvSpPr>
          <p:nvPr>
            <p:ph type="pic" sz="quarter" idx="44" hasCustomPrompt="1"/>
          </p:nvPr>
        </p:nvSpPr>
        <p:spPr>
          <a:xfrm rot="20387625">
            <a:off x="2867224" y="1845726"/>
            <a:ext cx="3534220" cy="966761"/>
          </a:xfrm>
          <a:custGeom>
            <a:avLst/>
            <a:gdLst>
              <a:gd name="connsiteX0" fmla="*/ 0 w 2973148"/>
              <a:gd name="connsiteY0" fmla="*/ 0 h 2029047"/>
              <a:gd name="connsiteX1" fmla="*/ 2973148 w 2973148"/>
              <a:gd name="connsiteY1" fmla="*/ 0 h 2029047"/>
              <a:gd name="connsiteX2" fmla="*/ 2973148 w 2973148"/>
              <a:gd name="connsiteY2" fmla="*/ 2029047 h 2029047"/>
              <a:gd name="connsiteX3" fmla="*/ 0 w 2973148"/>
              <a:gd name="connsiteY3" fmla="*/ 2029047 h 2029047"/>
              <a:gd name="connsiteX4" fmla="*/ 0 w 2973148"/>
              <a:gd name="connsiteY4" fmla="*/ 0 h 2029047"/>
              <a:gd name="connsiteX0" fmla="*/ 0 w 4012154"/>
              <a:gd name="connsiteY0" fmla="*/ 0 h 2029047"/>
              <a:gd name="connsiteX1" fmla="*/ 2973148 w 4012154"/>
              <a:gd name="connsiteY1" fmla="*/ 0 h 2029047"/>
              <a:gd name="connsiteX2" fmla="*/ 4012154 w 4012154"/>
              <a:gd name="connsiteY2" fmla="*/ 1173198 h 2029047"/>
              <a:gd name="connsiteX3" fmla="*/ 0 w 4012154"/>
              <a:gd name="connsiteY3" fmla="*/ 2029047 h 2029047"/>
              <a:gd name="connsiteX4" fmla="*/ 0 w 4012154"/>
              <a:gd name="connsiteY4" fmla="*/ 0 h 2029047"/>
              <a:gd name="connsiteX0" fmla="*/ 0 w 4012154"/>
              <a:gd name="connsiteY0" fmla="*/ 0 h 1483861"/>
              <a:gd name="connsiteX1" fmla="*/ 2973148 w 4012154"/>
              <a:gd name="connsiteY1" fmla="*/ 0 h 1483861"/>
              <a:gd name="connsiteX2" fmla="*/ 4012154 w 4012154"/>
              <a:gd name="connsiteY2" fmla="*/ 1173198 h 1483861"/>
              <a:gd name="connsiteX3" fmla="*/ 1405083 w 4012154"/>
              <a:gd name="connsiteY3" fmla="*/ 1483861 h 1483861"/>
              <a:gd name="connsiteX4" fmla="*/ 0 w 4012154"/>
              <a:gd name="connsiteY4" fmla="*/ 0 h 1483861"/>
              <a:gd name="connsiteX0" fmla="*/ 0 w 4012154"/>
              <a:gd name="connsiteY0" fmla="*/ 0 h 1240981"/>
              <a:gd name="connsiteX1" fmla="*/ 2973148 w 4012154"/>
              <a:gd name="connsiteY1" fmla="*/ 0 h 1240981"/>
              <a:gd name="connsiteX2" fmla="*/ 4012154 w 4012154"/>
              <a:gd name="connsiteY2" fmla="*/ 1173198 h 1240981"/>
              <a:gd name="connsiteX3" fmla="*/ 1866629 w 4012154"/>
              <a:gd name="connsiteY3" fmla="*/ 1240981 h 1240981"/>
              <a:gd name="connsiteX4" fmla="*/ 0 w 4012154"/>
              <a:gd name="connsiteY4" fmla="*/ 0 h 1240981"/>
              <a:gd name="connsiteX0" fmla="*/ 0 w 4012154"/>
              <a:gd name="connsiteY0" fmla="*/ 0 h 1467513"/>
              <a:gd name="connsiteX1" fmla="*/ 2973148 w 4012154"/>
              <a:gd name="connsiteY1" fmla="*/ 0 h 1467513"/>
              <a:gd name="connsiteX2" fmla="*/ 4012154 w 4012154"/>
              <a:gd name="connsiteY2" fmla="*/ 1173198 h 1467513"/>
              <a:gd name="connsiteX3" fmla="*/ 1526129 w 4012154"/>
              <a:gd name="connsiteY3" fmla="*/ 1467513 h 1467513"/>
              <a:gd name="connsiteX4" fmla="*/ 0 w 4012154"/>
              <a:gd name="connsiteY4" fmla="*/ 0 h 1467513"/>
              <a:gd name="connsiteX0" fmla="*/ 0 w 4012154"/>
              <a:gd name="connsiteY0" fmla="*/ 0 h 1494767"/>
              <a:gd name="connsiteX1" fmla="*/ 2973148 w 4012154"/>
              <a:gd name="connsiteY1" fmla="*/ 0 h 1494767"/>
              <a:gd name="connsiteX2" fmla="*/ 4012154 w 4012154"/>
              <a:gd name="connsiteY2" fmla="*/ 1173198 h 1494767"/>
              <a:gd name="connsiteX3" fmla="*/ 1592543 w 4012154"/>
              <a:gd name="connsiteY3" fmla="*/ 1494767 h 1494767"/>
              <a:gd name="connsiteX4" fmla="*/ 0 w 4012154"/>
              <a:gd name="connsiteY4" fmla="*/ 0 h 1494767"/>
              <a:gd name="connsiteX0" fmla="*/ 0 w 4012154"/>
              <a:gd name="connsiteY0" fmla="*/ 0 h 1351842"/>
              <a:gd name="connsiteX1" fmla="*/ 2973148 w 4012154"/>
              <a:gd name="connsiteY1" fmla="*/ 0 h 1351842"/>
              <a:gd name="connsiteX2" fmla="*/ 4012154 w 4012154"/>
              <a:gd name="connsiteY2" fmla="*/ 1173198 h 1351842"/>
              <a:gd name="connsiteX3" fmla="*/ 1644792 w 4012154"/>
              <a:gd name="connsiteY3" fmla="*/ 1351842 h 1351842"/>
              <a:gd name="connsiteX4" fmla="*/ 0 w 4012154"/>
              <a:gd name="connsiteY4" fmla="*/ 0 h 1351842"/>
              <a:gd name="connsiteX0" fmla="*/ 0 w 4012154"/>
              <a:gd name="connsiteY0" fmla="*/ 0 h 1356335"/>
              <a:gd name="connsiteX1" fmla="*/ 2973148 w 4012154"/>
              <a:gd name="connsiteY1" fmla="*/ 0 h 1356335"/>
              <a:gd name="connsiteX2" fmla="*/ 4012154 w 4012154"/>
              <a:gd name="connsiteY2" fmla="*/ 1173198 h 1356335"/>
              <a:gd name="connsiteX3" fmla="*/ 1619719 w 4012154"/>
              <a:gd name="connsiteY3" fmla="*/ 1356335 h 1356335"/>
              <a:gd name="connsiteX4" fmla="*/ 0 w 4012154"/>
              <a:gd name="connsiteY4" fmla="*/ 0 h 1356335"/>
              <a:gd name="connsiteX0" fmla="*/ 0 w 4012154"/>
              <a:gd name="connsiteY0" fmla="*/ 0 h 1477257"/>
              <a:gd name="connsiteX1" fmla="*/ 2973148 w 4012154"/>
              <a:gd name="connsiteY1" fmla="*/ 0 h 1477257"/>
              <a:gd name="connsiteX2" fmla="*/ 4012154 w 4012154"/>
              <a:gd name="connsiteY2" fmla="*/ 1173198 h 1477257"/>
              <a:gd name="connsiteX3" fmla="*/ 1534615 w 4012154"/>
              <a:gd name="connsiteY3" fmla="*/ 1477257 h 1477257"/>
              <a:gd name="connsiteX4" fmla="*/ 0 w 4012154"/>
              <a:gd name="connsiteY4" fmla="*/ 0 h 1477257"/>
              <a:gd name="connsiteX0" fmla="*/ 0 w 3793691"/>
              <a:gd name="connsiteY0" fmla="*/ 114238 h 1477257"/>
              <a:gd name="connsiteX1" fmla="*/ 2754685 w 3793691"/>
              <a:gd name="connsiteY1" fmla="*/ 0 h 1477257"/>
              <a:gd name="connsiteX2" fmla="*/ 3793691 w 3793691"/>
              <a:gd name="connsiteY2" fmla="*/ 1173198 h 1477257"/>
              <a:gd name="connsiteX3" fmla="*/ 1316152 w 3793691"/>
              <a:gd name="connsiteY3" fmla="*/ 1477257 h 1477257"/>
              <a:gd name="connsiteX4" fmla="*/ 0 w 3793691"/>
              <a:gd name="connsiteY4" fmla="*/ 114238 h 1477257"/>
              <a:gd name="connsiteX0" fmla="*/ 0 w 4016540"/>
              <a:gd name="connsiteY0" fmla="*/ 11919 h 1477257"/>
              <a:gd name="connsiteX1" fmla="*/ 2977534 w 4016540"/>
              <a:gd name="connsiteY1" fmla="*/ 0 h 1477257"/>
              <a:gd name="connsiteX2" fmla="*/ 4016540 w 4016540"/>
              <a:gd name="connsiteY2" fmla="*/ 1173198 h 1477257"/>
              <a:gd name="connsiteX3" fmla="*/ 1539001 w 4016540"/>
              <a:gd name="connsiteY3" fmla="*/ 1477257 h 1477257"/>
              <a:gd name="connsiteX4" fmla="*/ 0 w 4016540"/>
              <a:gd name="connsiteY4" fmla="*/ 11919 h 1477257"/>
              <a:gd name="connsiteX0" fmla="*/ 0 w 4016540"/>
              <a:gd name="connsiteY0" fmla="*/ 0 h 1465338"/>
              <a:gd name="connsiteX1" fmla="*/ 2939771 w 4016540"/>
              <a:gd name="connsiteY1" fmla="*/ 72296 h 1465338"/>
              <a:gd name="connsiteX2" fmla="*/ 4016540 w 4016540"/>
              <a:gd name="connsiteY2" fmla="*/ 1161279 h 1465338"/>
              <a:gd name="connsiteX3" fmla="*/ 1539001 w 4016540"/>
              <a:gd name="connsiteY3" fmla="*/ 1465338 h 1465338"/>
              <a:gd name="connsiteX4" fmla="*/ 0 w 4016540"/>
              <a:gd name="connsiteY4" fmla="*/ 0 h 1465338"/>
              <a:gd name="connsiteX0" fmla="*/ 0 w 4016540"/>
              <a:gd name="connsiteY0" fmla="*/ 1240 h 1466578"/>
              <a:gd name="connsiteX1" fmla="*/ 2445820 w 4016540"/>
              <a:gd name="connsiteY1" fmla="*/ 0 h 1466578"/>
              <a:gd name="connsiteX2" fmla="*/ 4016540 w 4016540"/>
              <a:gd name="connsiteY2" fmla="*/ 1162519 h 1466578"/>
              <a:gd name="connsiteX3" fmla="*/ 1539001 w 4016540"/>
              <a:gd name="connsiteY3" fmla="*/ 1466578 h 1466578"/>
              <a:gd name="connsiteX4" fmla="*/ 0 w 4016540"/>
              <a:gd name="connsiteY4" fmla="*/ 1240 h 1466578"/>
              <a:gd name="connsiteX0" fmla="*/ 0 w 3917276"/>
              <a:gd name="connsiteY0" fmla="*/ 1240 h 1466578"/>
              <a:gd name="connsiteX1" fmla="*/ 2445820 w 3917276"/>
              <a:gd name="connsiteY1" fmla="*/ 0 h 1466578"/>
              <a:gd name="connsiteX2" fmla="*/ 3917276 w 3917276"/>
              <a:gd name="connsiteY2" fmla="*/ 1208773 h 1466578"/>
              <a:gd name="connsiteX3" fmla="*/ 1539001 w 3917276"/>
              <a:gd name="connsiteY3" fmla="*/ 1466578 h 1466578"/>
              <a:gd name="connsiteX4" fmla="*/ 0 w 3917276"/>
              <a:gd name="connsiteY4" fmla="*/ 1240 h 1466578"/>
              <a:gd name="connsiteX0" fmla="*/ 0 w 4021065"/>
              <a:gd name="connsiteY0" fmla="*/ 1240 h 1466578"/>
              <a:gd name="connsiteX1" fmla="*/ 2445820 w 4021065"/>
              <a:gd name="connsiteY1" fmla="*/ 0 h 1466578"/>
              <a:gd name="connsiteX2" fmla="*/ 4021065 w 4021065"/>
              <a:gd name="connsiteY2" fmla="*/ 1165775 h 1466578"/>
              <a:gd name="connsiteX3" fmla="*/ 1539001 w 4021065"/>
              <a:gd name="connsiteY3" fmla="*/ 1466578 h 1466578"/>
              <a:gd name="connsiteX4" fmla="*/ 0 w 4021065"/>
              <a:gd name="connsiteY4" fmla="*/ 1240 h 1466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21065" h="1466578">
                <a:moveTo>
                  <a:pt x="0" y="1240"/>
                </a:moveTo>
                <a:lnTo>
                  <a:pt x="2445820" y="0"/>
                </a:lnTo>
                <a:lnTo>
                  <a:pt x="4021065" y="1165775"/>
                </a:lnTo>
                <a:lnTo>
                  <a:pt x="1539001" y="1466578"/>
                </a:lnTo>
                <a:lnTo>
                  <a:pt x="0" y="124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45720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al 9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673100" y="1757295"/>
            <a:ext cx="2742192" cy="2671830"/>
            <a:chOff x="673100" y="1187360"/>
            <a:chExt cx="2742192" cy="3562440"/>
          </a:xfrm>
        </p:grpSpPr>
        <p:pic>
          <p:nvPicPr>
            <p:cNvPr id="15" name="Picture 14" descr="iPad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673100" y="1187360"/>
              <a:ext cx="2742192" cy="3562440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>
              <a:off x="942344" y="1497330"/>
              <a:ext cx="2203704" cy="29077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941332" y="1990058"/>
            <a:ext cx="2205728" cy="2180273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1005840" anchor="b"/>
          <a:lstStyle>
            <a:lvl1pPr algn="ctr" rtl="0">
              <a:buNone/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mock_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al 10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2831043" y="2076450"/>
            <a:ext cx="3481914" cy="2014626"/>
            <a:chOff x="2831043" y="1628657"/>
            <a:chExt cx="3481914" cy="2686168"/>
          </a:xfrm>
        </p:grpSpPr>
        <p:pic>
          <p:nvPicPr>
            <p:cNvPr id="15" name="Picture 14" descr="iPad-Landscape-Retina-Display-Mockup.png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2831043" y="1628657"/>
              <a:ext cx="3481914" cy="2686168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 userDrawn="1"/>
          </p:nvSpPr>
          <p:spPr bwMode="auto">
            <a:xfrm rot="5400000">
              <a:off x="3474720" y="1554421"/>
              <a:ext cx="2141220" cy="283464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1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3128010" y="2272189"/>
            <a:ext cx="2872740" cy="1623149"/>
          </a:xfrm>
          <a:prstGeom prst="rect">
            <a:avLst/>
          </a:prstGeom>
          <a:solidFill>
            <a:schemeClr val="bg1">
              <a:lumMod val="75000"/>
            </a:schemeClr>
          </a:solidFill>
          <a:ln w="3175">
            <a:noFill/>
          </a:ln>
        </p:spPr>
        <p:txBody>
          <a:bodyPr wrap="none" tIns="0" bIns="640080" anchor="b"/>
          <a:lstStyle>
            <a:lvl1pPr algn="ctr" rtl="0">
              <a:buNone/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_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7"/>
          <p:cNvSpPr>
            <a:spLocks noGrp="1"/>
          </p:cNvSpPr>
          <p:nvPr>
            <p:ph type="pic" sz="quarter" idx="44" hasCustomPrompt="1"/>
          </p:nvPr>
        </p:nvSpPr>
        <p:spPr>
          <a:xfrm>
            <a:off x="0" y="-9525"/>
            <a:ext cx="9144000" cy="5162550"/>
          </a:xfrm>
          <a:prstGeom prst="rect">
            <a:avLst/>
          </a:prstGeom>
          <a:noFill/>
          <a:ln w="3175">
            <a:noFill/>
          </a:ln>
        </p:spPr>
        <p:txBody>
          <a:bodyPr wrap="none" tIns="0" bIns="3749040" anchor="b"/>
          <a:lstStyle>
            <a:lvl1pPr algn="ctr" rtl="0">
              <a:buNone/>
              <a:defRPr sz="20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B694FA21-F18C-4BBE-A9EE-89D5EA2A2F54}"/>
              </a:ext>
            </a:extLst>
          </p:cNvPr>
          <p:cNvSpPr/>
          <p:nvPr userDrawn="1"/>
        </p:nvSpPr>
        <p:spPr bwMode="auto">
          <a:xfrm>
            <a:off x="8305800" y="228600"/>
            <a:ext cx="838200" cy="171450"/>
          </a:xfrm>
          <a:prstGeom prst="rect">
            <a:avLst/>
          </a:prstGeom>
          <a:solidFill>
            <a:srgbClr val="0070C0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8486776" y="198596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>
                <a:solidFill>
                  <a:schemeClr val="bg1"/>
                </a:solidFill>
              </a:rPr>
              <a:pPr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135731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lang="en-US" sz="2000" b="1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FA85EA7D-3AB2-4205-809A-A004F0937AE5}"/>
              </a:ext>
            </a:extLst>
          </p:cNvPr>
          <p:cNvSpPr/>
          <p:nvPr userDrawn="1"/>
        </p:nvSpPr>
        <p:spPr bwMode="auto">
          <a:xfrm>
            <a:off x="0" y="228600"/>
            <a:ext cx="838200" cy="171450"/>
          </a:xfrm>
          <a:prstGeom prst="rect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31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eam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62">
            <a:extLst>
              <a:ext uri="{FF2B5EF4-FFF2-40B4-BE49-F238E27FC236}">
                <a16:creationId xmlns:a16="http://schemas.microsoft.com/office/drawing/2014/main" xmlns="" id="{A40A43BD-1467-4B17-9349-31FE535068F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610605" y="-4763"/>
            <a:ext cx="538161" cy="311240"/>
          </a:xfrm>
          <a:custGeom>
            <a:avLst/>
            <a:gdLst>
              <a:gd name="connsiteX0" fmla="*/ 0 w 7124700"/>
              <a:gd name="connsiteY0" fmla="*/ 0 h 516212"/>
              <a:gd name="connsiteX1" fmla="*/ 7124700 w 7124700"/>
              <a:gd name="connsiteY1" fmla="*/ 0 h 516212"/>
              <a:gd name="connsiteX2" fmla="*/ 7124700 w 7124700"/>
              <a:gd name="connsiteY2" fmla="*/ 516212 h 516212"/>
              <a:gd name="connsiteX3" fmla="*/ 0 w 7124700"/>
              <a:gd name="connsiteY3" fmla="*/ 516212 h 516212"/>
              <a:gd name="connsiteX4" fmla="*/ 0 w 7124700"/>
              <a:gd name="connsiteY4" fmla="*/ 0 h 516212"/>
              <a:gd name="connsiteX0" fmla="*/ 0 w 7124700"/>
              <a:gd name="connsiteY0" fmla="*/ 0 h 522562"/>
              <a:gd name="connsiteX1" fmla="*/ 7124700 w 7124700"/>
              <a:gd name="connsiteY1" fmla="*/ 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7124700"/>
              <a:gd name="connsiteY0" fmla="*/ 0 h 522562"/>
              <a:gd name="connsiteX1" fmla="*/ 3054379 w 7124700"/>
              <a:gd name="connsiteY1" fmla="*/ 5350 h 522562"/>
              <a:gd name="connsiteX2" fmla="*/ 7124700 w 7124700"/>
              <a:gd name="connsiteY2" fmla="*/ 516212 h 522562"/>
              <a:gd name="connsiteX3" fmla="*/ 374650 w 7124700"/>
              <a:gd name="connsiteY3" fmla="*/ 522562 h 522562"/>
              <a:gd name="connsiteX4" fmla="*/ 0 w 7124700"/>
              <a:gd name="connsiteY4" fmla="*/ 0 h 522562"/>
              <a:gd name="connsiteX0" fmla="*/ 0 w 3198756"/>
              <a:gd name="connsiteY0" fmla="*/ 0 h 522562"/>
              <a:gd name="connsiteX1" fmla="*/ 3054379 w 3198756"/>
              <a:gd name="connsiteY1" fmla="*/ 535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198756"/>
              <a:gd name="connsiteY0" fmla="*/ 0 h 522562"/>
              <a:gd name="connsiteX1" fmla="*/ 3193203 w 3198756"/>
              <a:gd name="connsiteY1" fmla="*/ 10700 h 522562"/>
              <a:gd name="connsiteX2" fmla="*/ 3198756 w 3198756"/>
              <a:gd name="connsiteY2" fmla="*/ 521563 h 522562"/>
              <a:gd name="connsiteX3" fmla="*/ 374650 w 3198756"/>
              <a:gd name="connsiteY3" fmla="*/ 522562 h 522562"/>
              <a:gd name="connsiteX4" fmla="*/ 0 w 3198756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374650 w 3204309"/>
              <a:gd name="connsiteY3" fmla="*/ 522562 h 522562"/>
              <a:gd name="connsiteX4" fmla="*/ 0 w 3204309"/>
              <a:gd name="connsiteY4" fmla="*/ 0 h 522562"/>
              <a:gd name="connsiteX0" fmla="*/ 0 w 3204309"/>
              <a:gd name="connsiteY0" fmla="*/ 0 h 522562"/>
              <a:gd name="connsiteX1" fmla="*/ 3204309 w 3204309"/>
              <a:gd name="connsiteY1" fmla="*/ 5350 h 522562"/>
              <a:gd name="connsiteX2" fmla="*/ 3198756 w 3204309"/>
              <a:gd name="connsiteY2" fmla="*/ 521563 h 522562"/>
              <a:gd name="connsiteX3" fmla="*/ 1332711 w 3204309"/>
              <a:gd name="connsiteY3" fmla="*/ 519738 h 522562"/>
              <a:gd name="connsiteX4" fmla="*/ 374650 w 3204309"/>
              <a:gd name="connsiteY4" fmla="*/ 522562 h 522562"/>
              <a:gd name="connsiteX5" fmla="*/ 0 w 3204309"/>
              <a:gd name="connsiteY5" fmla="*/ 0 h 522562"/>
              <a:gd name="connsiteX0" fmla="*/ 0 w 3204309"/>
              <a:gd name="connsiteY0" fmla="*/ 1899 h 524461"/>
              <a:gd name="connsiteX1" fmla="*/ 1266075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204309"/>
              <a:gd name="connsiteY0" fmla="*/ 1899 h 524461"/>
              <a:gd name="connsiteX1" fmla="*/ 1311888 w 3204309"/>
              <a:gd name="connsiteY1" fmla="*/ 0 h 524461"/>
              <a:gd name="connsiteX2" fmla="*/ 3204309 w 3204309"/>
              <a:gd name="connsiteY2" fmla="*/ 7249 h 524461"/>
              <a:gd name="connsiteX3" fmla="*/ 3198756 w 3204309"/>
              <a:gd name="connsiteY3" fmla="*/ 523462 h 524461"/>
              <a:gd name="connsiteX4" fmla="*/ 1332711 w 3204309"/>
              <a:gd name="connsiteY4" fmla="*/ 521637 h 524461"/>
              <a:gd name="connsiteX5" fmla="*/ 374650 w 3204309"/>
              <a:gd name="connsiteY5" fmla="*/ 524461 h 524461"/>
              <a:gd name="connsiteX6" fmla="*/ 0 w 3204309"/>
              <a:gd name="connsiteY6" fmla="*/ 1899 h 524461"/>
              <a:gd name="connsiteX0" fmla="*/ 0 w 3198756"/>
              <a:gd name="connsiteY0" fmla="*/ 1899 h 524461"/>
              <a:gd name="connsiteX1" fmla="*/ 1311888 w 3198756"/>
              <a:gd name="connsiteY1" fmla="*/ 0 h 524461"/>
              <a:gd name="connsiteX2" fmla="*/ 3198756 w 3198756"/>
              <a:gd name="connsiteY2" fmla="*/ 523462 h 524461"/>
              <a:gd name="connsiteX3" fmla="*/ 1332711 w 3198756"/>
              <a:gd name="connsiteY3" fmla="*/ 521637 h 524461"/>
              <a:gd name="connsiteX4" fmla="*/ 374650 w 3198756"/>
              <a:gd name="connsiteY4" fmla="*/ 524461 h 524461"/>
              <a:gd name="connsiteX5" fmla="*/ 0 w 3198756"/>
              <a:gd name="connsiteY5" fmla="*/ 1899 h 524461"/>
              <a:gd name="connsiteX0" fmla="*/ 0 w 1332711"/>
              <a:gd name="connsiteY0" fmla="*/ 1899 h 524461"/>
              <a:gd name="connsiteX1" fmla="*/ 1311888 w 1332711"/>
              <a:gd name="connsiteY1" fmla="*/ 0 h 524461"/>
              <a:gd name="connsiteX2" fmla="*/ 1332711 w 1332711"/>
              <a:gd name="connsiteY2" fmla="*/ 521637 h 524461"/>
              <a:gd name="connsiteX3" fmla="*/ 374650 w 1332711"/>
              <a:gd name="connsiteY3" fmla="*/ 524461 h 524461"/>
              <a:gd name="connsiteX4" fmla="*/ 0 w 1332711"/>
              <a:gd name="connsiteY4" fmla="*/ 1899 h 524461"/>
              <a:gd name="connsiteX0" fmla="*/ 0 w 1332711"/>
              <a:gd name="connsiteY0" fmla="*/ 5913 h 528475"/>
              <a:gd name="connsiteX1" fmla="*/ 1328547 w 1332711"/>
              <a:gd name="connsiteY1" fmla="*/ 0 h 528475"/>
              <a:gd name="connsiteX2" fmla="*/ 1332711 w 1332711"/>
              <a:gd name="connsiteY2" fmla="*/ 525651 h 528475"/>
              <a:gd name="connsiteX3" fmla="*/ 374650 w 1332711"/>
              <a:gd name="connsiteY3" fmla="*/ 528475 h 528475"/>
              <a:gd name="connsiteX4" fmla="*/ 0 w 1332711"/>
              <a:gd name="connsiteY4" fmla="*/ 5913 h 528475"/>
              <a:gd name="connsiteX0" fmla="*/ 0 w 1341040"/>
              <a:gd name="connsiteY0" fmla="*/ 1901 h 524463"/>
              <a:gd name="connsiteX1" fmla="*/ 1341040 w 1341040"/>
              <a:gd name="connsiteY1" fmla="*/ 0 h 524463"/>
              <a:gd name="connsiteX2" fmla="*/ 1332711 w 1341040"/>
              <a:gd name="connsiteY2" fmla="*/ 521639 h 524463"/>
              <a:gd name="connsiteX3" fmla="*/ 374650 w 1341040"/>
              <a:gd name="connsiteY3" fmla="*/ 524463 h 524463"/>
              <a:gd name="connsiteX4" fmla="*/ 0 w 1341040"/>
              <a:gd name="connsiteY4" fmla="*/ 1901 h 5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41040" h="524463">
                <a:moveTo>
                  <a:pt x="0" y="1901"/>
                </a:moveTo>
                <a:lnTo>
                  <a:pt x="1341040" y="0"/>
                </a:lnTo>
                <a:lnTo>
                  <a:pt x="1332711" y="521639"/>
                </a:lnTo>
                <a:lnTo>
                  <a:pt x="374650" y="524463"/>
                </a:lnTo>
                <a:lnTo>
                  <a:pt x="0" y="1901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9" name="Title 1"/>
          <p:cNvSpPr>
            <a:spLocks noGrp="1"/>
          </p:cNvSpPr>
          <p:nvPr>
            <p:ph type="title" hasCustomPrompt="1"/>
          </p:nvPr>
        </p:nvSpPr>
        <p:spPr>
          <a:xfrm>
            <a:off x="128704" y="0"/>
            <a:ext cx="4443296" cy="310112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1800" b="1" i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Slide Number Placeholder 4"/>
          <p:cNvSpPr txBox="1">
            <a:spLocks/>
          </p:cNvSpPr>
          <p:nvPr userDrawn="1"/>
        </p:nvSpPr>
        <p:spPr>
          <a:xfrm>
            <a:off x="8715381" y="-21216"/>
            <a:ext cx="428625" cy="327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000" smtClean="0">
                <a:solidFill>
                  <a:srgbClr val="091925"/>
                </a:solidFill>
              </a:rPr>
              <a:pPr/>
              <a:t>‹#›</a:t>
            </a:fld>
            <a:endParaRPr lang="en-US" sz="1000" dirty="0">
              <a:solidFill>
                <a:srgbClr val="09192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69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="" xmlns:p15="http://schemas.microsoft.com/office/powerpoint/2012/main">
        <p15:guide id="1" orient="horz" pos="18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53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ln w="3175">
            <a:noFill/>
          </a:ln>
        </p:spPr>
        <p:txBody>
          <a:bodyPr wrap="none" tIns="0" bIns="3657600" anchor="b"/>
          <a:lstStyle>
            <a:lvl1pPr algn="ctr" rtl="0">
              <a:buNone/>
              <a:defRPr sz="1800" b="1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6571488" y="1807029"/>
            <a:ext cx="2572512" cy="2002536"/>
          </a:xfrm>
          <a:prstGeom prst="rect">
            <a:avLst/>
          </a:prstGeom>
          <a:ln>
            <a:noFill/>
          </a:ln>
        </p:spPr>
        <p:txBody>
          <a:bodyPr wrap="none" tIns="0" bIns="731520" anchor="b"/>
          <a:lstStyle>
            <a:lvl1pPr algn="ctr">
              <a:buNone/>
              <a:defRPr sz="16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o are w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 6"/>
          <p:cNvSpPr/>
          <p:nvPr userDrawn="1"/>
        </p:nvSpPr>
        <p:spPr>
          <a:xfrm>
            <a:off x="8520112" y="735806"/>
            <a:ext cx="361950" cy="271463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8486776" y="748653"/>
            <a:ext cx="428625" cy="2457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136B7D2-B98C-44FD-8D04-7EC62A564975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190750" y="557213"/>
            <a:ext cx="4762500" cy="314349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ctr">
              <a:defRPr sz="28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271839" y="878140"/>
            <a:ext cx="2600325" cy="15056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ctr">
              <a:buNone/>
              <a:defRPr sz="1600" b="1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0" hasCustomPrompt="1"/>
          </p:nvPr>
        </p:nvSpPr>
        <p:spPr>
          <a:xfrm>
            <a:off x="2135124" y="1847850"/>
            <a:ext cx="4873752" cy="1597914"/>
          </a:xfrm>
          <a:prstGeom prst="roundRect">
            <a:avLst>
              <a:gd name="adj" fmla="val 1482"/>
            </a:avLst>
          </a:prstGeom>
        </p:spPr>
        <p:txBody>
          <a:bodyPr tIns="914400" anchor="ctr"/>
          <a:lstStyle>
            <a:lvl1pPr algn="ctr">
              <a:buNone/>
              <a:defRPr sz="2000" b="1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Click Icon To Add Image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847" r:id="rId2"/>
    <p:sldLayoutId id="2147483849" r:id="rId3"/>
    <p:sldLayoutId id="2147483858" r:id="rId4"/>
    <p:sldLayoutId id="2147483859" r:id="rId5"/>
    <p:sldLayoutId id="2147483953" r:id="rId6"/>
    <p:sldLayoutId id="2147483861" r:id="rId7"/>
    <p:sldLayoutId id="2147483866" r:id="rId8"/>
    <p:sldLayoutId id="2147483763" r:id="rId9"/>
    <p:sldLayoutId id="2147483862" r:id="rId10"/>
    <p:sldLayoutId id="2147483863" r:id="rId11"/>
    <p:sldLayoutId id="2147483864" r:id="rId12"/>
    <p:sldLayoutId id="2147483865" r:id="rId13"/>
    <p:sldLayoutId id="2147483867" r:id="rId14"/>
    <p:sldLayoutId id="2147483871" r:id="rId15"/>
    <p:sldLayoutId id="2147483874" r:id="rId16"/>
    <p:sldLayoutId id="2147483860" r:id="rId17"/>
    <p:sldLayoutId id="2147483873" r:id="rId18"/>
    <p:sldLayoutId id="2147483875" r:id="rId19"/>
    <p:sldLayoutId id="2147483872" r:id="rId20"/>
    <p:sldLayoutId id="2147483876" r:id="rId21"/>
    <p:sldLayoutId id="2147483877" r:id="rId22"/>
    <p:sldLayoutId id="2147483878" r:id="rId23"/>
    <p:sldLayoutId id="2147483881" r:id="rId24"/>
    <p:sldLayoutId id="2147483884" r:id="rId25"/>
    <p:sldLayoutId id="2147483879" r:id="rId26"/>
    <p:sldLayoutId id="2147483882" r:id="rId27"/>
    <p:sldLayoutId id="2147483885" r:id="rId28"/>
    <p:sldLayoutId id="2147483883" r:id="rId29"/>
    <p:sldLayoutId id="2147483949" r:id="rId30"/>
    <p:sldLayoutId id="2147483948" r:id="rId31"/>
    <p:sldLayoutId id="2147483951" r:id="rId32"/>
    <p:sldLayoutId id="2147483950" r:id="rId33"/>
    <p:sldLayoutId id="2147483850" r:id="rId34"/>
    <p:sldLayoutId id="2147483851" r:id="rId35"/>
    <p:sldLayoutId id="2147483852" r:id="rId36"/>
    <p:sldLayoutId id="2147483855" r:id="rId37"/>
    <p:sldLayoutId id="2147483854" r:id="rId38"/>
    <p:sldLayoutId id="2147483856" r:id="rId39"/>
    <p:sldLayoutId id="2147483853" r:id="rId40"/>
    <p:sldLayoutId id="2147483869" r:id="rId41"/>
    <p:sldLayoutId id="2147483868" r:id="rId42"/>
    <p:sldLayoutId id="2147483870" r:id="rId43"/>
    <p:sldLayoutId id="2147483944" r:id="rId44"/>
    <p:sldLayoutId id="2147483932" r:id="rId45"/>
    <p:sldLayoutId id="2147483933" r:id="rId46"/>
    <p:sldLayoutId id="2147483935" r:id="rId47"/>
    <p:sldLayoutId id="2147483937" r:id="rId48"/>
    <p:sldLayoutId id="2147483938" r:id="rId49"/>
    <p:sldLayoutId id="2147483939" r:id="rId50"/>
    <p:sldLayoutId id="2147483940" r:id="rId51"/>
    <p:sldLayoutId id="2147483942" r:id="rId52"/>
    <p:sldLayoutId id="2147483936" r:id="rId53"/>
    <p:sldLayoutId id="2147483941" r:id="rId54"/>
    <p:sldLayoutId id="2147483943" r:id="rId55"/>
    <p:sldLayoutId id="2147483945" r:id="rId56"/>
    <p:sldLayoutId id="2147483946" r:id="rId57"/>
    <p:sldLayoutId id="2147483947" r:id="rId58"/>
    <p:sldLayoutId id="2147483952" r:id="rId59"/>
    <p:sldLayoutId id="2147483955" r:id="rId60"/>
  </p:sldLayoutIdLst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0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1.png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EDC5CD4-C5DE-4C86-8B10-576AD3B48664}"/>
              </a:ext>
            </a:extLst>
          </p:cNvPr>
          <p:cNvSpPr/>
          <p:nvPr/>
        </p:nvSpPr>
        <p:spPr>
          <a:xfrm>
            <a:off x="7490859" y="123478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sz="10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538" y="149192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grpSp>
        <p:nvGrpSpPr>
          <p:cNvPr id="64" name="Группа 4"/>
          <p:cNvGrpSpPr/>
          <p:nvPr/>
        </p:nvGrpSpPr>
        <p:grpSpPr>
          <a:xfrm>
            <a:off x="107504" y="647272"/>
            <a:ext cx="8784976" cy="3137522"/>
            <a:chOff x="563490" y="1612899"/>
            <a:chExt cx="8023298" cy="4439534"/>
          </a:xfrm>
          <a:solidFill>
            <a:srgbClr val="F19233">
              <a:alpha val="40000"/>
            </a:srgbClr>
          </a:solidFill>
        </p:grpSpPr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5846763" y="2279650"/>
              <a:ext cx="22225" cy="23813"/>
            </a:xfrm>
            <a:custGeom>
              <a:avLst/>
              <a:gdLst>
                <a:gd name="T0" fmla="*/ 14 w 14"/>
                <a:gd name="T1" fmla="*/ 5 h 15"/>
                <a:gd name="T2" fmla="*/ 14 w 14"/>
                <a:gd name="T3" fmla="*/ 5 h 15"/>
                <a:gd name="T4" fmla="*/ 14 w 14"/>
                <a:gd name="T5" fmla="*/ 10 h 15"/>
                <a:gd name="T6" fmla="*/ 14 w 14"/>
                <a:gd name="T7" fmla="*/ 10 h 15"/>
                <a:gd name="T8" fmla="*/ 13 w 14"/>
                <a:gd name="T9" fmla="*/ 11 h 15"/>
                <a:gd name="T10" fmla="*/ 9 w 14"/>
                <a:gd name="T11" fmla="*/ 13 h 15"/>
                <a:gd name="T12" fmla="*/ 6 w 14"/>
                <a:gd name="T13" fmla="*/ 13 h 15"/>
                <a:gd name="T14" fmla="*/ 5 w 14"/>
                <a:gd name="T15" fmla="*/ 15 h 15"/>
                <a:gd name="T16" fmla="*/ 5 w 14"/>
                <a:gd name="T17" fmla="*/ 15 h 15"/>
                <a:gd name="T18" fmla="*/ 0 w 14"/>
                <a:gd name="T19" fmla="*/ 10 h 15"/>
                <a:gd name="T20" fmla="*/ 0 w 14"/>
                <a:gd name="T21" fmla="*/ 10 h 15"/>
                <a:gd name="T22" fmla="*/ 5 w 14"/>
                <a:gd name="T23" fmla="*/ 6 h 15"/>
                <a:gd name="T24" fmla="*/ 5 w 14"/>
                <a:gd name="T25" fmla="*/ 6 h 15"/>
                <a:gd name="T26" fmla="*/ 2 w 14"/>
                <a:gd name="T27" fmla="*/ 2 h 15"/>
                <a:gd name="T28" fmla="*/ 2 w 14"/>
                <a:gd name="T29" fmla="*/ 2 h 15"/>
                <a:gd name="T30" fmla="*/ 4 w 14"/>
                <a:gd name="T31" fmla="*/ 0 h 15"/>
                <a:gd name="T32" fmla="*/ 4 w 14"/>
                <a:gd name="T33" fmla="*/ 0 h 15"/>
                <a:gd name="T34" fmla="*/ 14 w 14"/>
                <a:gd name="T35" fmla="*/ 5 h 15"/>
                <a:gd name="T36" fmla="*/ 14 w 14"/>
                <a:gd name="T3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15">
                  <a:moveTo>
                    <a:pt x="14" y="5"/>
                  </a:moveTo>
                  <a:lnTo>
                    <a:pt x="14" y="5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1"/>
                  </a:lnTo>
                  <a:lnTo>
                    <a:pt x="9" y="13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5" y="6"/>
                  </a:lnTo>
                  <a:lnTo>
                    <a:pt x="5" y="6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14" y="5"/>
                  </a:lnTo>
                  <a:lnTo>
                    <a:pt x="14" y="5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Freeform 146"/>
            <p:cNvSpPr>
              <a:spLocks/>
            </p:cNvSpPr>
            <p:nvPr/>
          </p:nvSpPr>
          <p:spPr bwMode="auto">
            <a:xfrm>
              <a:off x="6057900" y="4624388"/>
              <a:ext cx="77788" cy="49213"/>
            </a:xfrm>
            <a:custGeom>
              <a:avLst/>
              <a:gdLst>
                <a:gd name="T0" fmla="*/ 49 w 49"/>
                <a:gd name="T1" fmla="*/ 28 h 31"/>
                <a:gd name="T2" fmla="*/ 49 w 49"/>
                <a:gd name="T3" fmla="*/ 30 h 31"/>
                <a:gd name="T4" fmla="*/ 48 w 49"/>
                <a:gd name="T5" fmla="*/ 31 h 31"/>
                <a:gd name="T6" fmla="*/ 47 w 49"/>
                <a:gd name="T7" fmla="*/ 31 h 31"/>
                <a:gd name="T8" fmla="*/ 47 w 49"/>
                <a:gd name="T9" fmla="*/ 31 h 31"/>
                <a:gd name="T10" fmla="*/ 46 w 49"/>
                <a:gd name="T11" fmla="*/ 30 h 31"/>
                <a:gd name="T12" fmla="*/ 46 w 49"/>
                <a:gd name="T13" fmla="*/ 30 h 31"/>
                <a:gd name="T14" fmla="*/ 40 w 49"/>
                <a:gd name="T15" fmla="*/ 30 h 31"/>
                <a:gd name="T16" fmla="*/ 40 w 49"/>
                <a:gd name="T17" fmla="*/ 30 h 31"/>
                <a:gd name="T18" fmla="*/ 31 w 49"/>
                <a:gd name="T19" fmla="*/ 30 h 31"/>
                <a:gd name="T20" fmla="*/ 31 w 49"/>
                <a:gd name="T21" fmla="*/ 30 h 31"/>
                <a:gd name="T22" fmla="*/ 26 w 49"/>
                <a:gd name="T23" fmla="*/ 30 h 31"/>
                <a:gd name="T24" fmla="*/ 26 w 49"/>
                <a:gd name="T25" fmla="*/ 30 h 31"/>
                <a:gd name="T26" fmla="*/ 22 w 49"/>
                <a:gd name="T27" fmla="*/ 28 h 31"/>
                <a:gd name="T28" fmla="*/ 17 w 49"/>
                <a:gd name="T29" fmla="*/ 30 h 31"/>
                <a:gd name="T30" fmla="*/ 17 w 49"/>
                <a:gd name="T31" fmla="*/ 30 h 31"/>
                <a:gd name="T32" fmla="*/ 14 w 49"/>
                <a:gd name="T33" fmla="*/ 30 h 31"/>
                <a:gd name="T34" fmla="*/ 14 w 49"/>
                <a:gd name="T35" fmla="*/ 30 h 31"/>
                <a:gd name="T36" fmla="*/ 9 w 49"/>
                <a:gd name="T37" fmla="*/ 30 h 31"/>
                <a:gd name="T38" fmla="*/ 7 w 49"/>
                <a:gd name="T39" fmla="*/ 28 h 31"/>
                <a:gd name="T40" fmla="*/ 5 w 49"/>
                <a:gd name="T41" fmla="*/ 27 h 31"/>
                <a:gd name="T42" fmla="*/ 5 w 49"/>
                <a:gd name="T43" fmla="*/ 27 h 31"/>
                <a:gd name="T44" fmla="*/ 5 w 49"/>
                <a:gd name="T45" fmla="*/ 26 h 31"/>
                <a:gd name="T46" fmla="*/ 5 w 49"/>
                <a:gd name="T47" fmla="*/ 25 h 31"/>
                <a:gd name="T48" fmla="*/ 4 w 49"/>
                <a:gd name="T49" fmla="*/ 22 h 31"/>
                <a:gd name="T50" fmla="*/ 4 w 49"/>
                <a:gd name="T51" fmla="*/ 22 h 31"/>
                <a:gd name="T52" fmla="*/ 3 w 49"/>
                <a:gd name="T53" fmla="*/ 17 h 31"/>
                <a:gd name="T54" fmla="*/ 2 w 49"/>
                <a:gd name="T55" fmla="*/ 12 h 31"/>
                <a:gd name="T56" fmla="*/ 2 w 49"/>
                <a:gd name="T57" fmla="*/ 12 h 31"/>
                <a:gd name="T58" fmla="*/ 0 w 49"/>
                <a:gd name="T59" fmla="*/ 9 h 31"/>
                <a:gd name="T60" fmla="*/ 0 w 49"/>
                <a:gd name="T61" fmla="*/ 8 h 31"/>
                <a:gd name="T62" fmla="*/ 0 w 49"/>
                <a:gd name="T63" fmla="*/ 8 h 31"/>
                <a:gd name="T64" fmla="*/ 2 w 49"/>
                <a:gd name="T65" fmla="*/ 6 h 31"/>
                <a:gd name="T66" fmla="*/ 2 w 49"/>
                <a:gd name="T67" fmla="*/ 5 h 31"/>
                <a:gd name="T68" fmla="*/ 2 w 49"/>
                <a:gd name="T69" fmla="*/ 4 h 31"/>
                <a:gd name="T70" fmla="*/ 2 w 49"/>
                <a:gd name="T71" fmla="*/ 3 h 31"/>
                <a:gd name="T72" fmla="*/ 2 w 49"/>
                <a:gd name="T73" fmla="*/ 3 h 31"/>
                <a:gd name="T74" fmla="*/ 20 w 49"/>
                <a:gd name="T75" fmla="*/ 1 h 31"/>
                <a:gd name="T76" fmla="*/ 38 w 49"/>
                <a:gd name="T77" fmla="*/ 0 h 31"/>
                <a:gd name="T78" fmla="*/ 38 w 49"/>
                <a:gd name="T79" fmla="*/ 0 h 31"/>
                <a:gd name="T80" fmla="*/ 48 w 49"/>
                <a:gd name="T81" fmla="*/ 28 h 31"/>
                <a:gd name="T82" fmla="*/ 48 w 49"/>
                <a:gd name="T83" fmla="*/ 28 h 31"/>
                <a:gd name="T84" fmla="*/ 49 w 49"/>
                <a:gd name="T85" fmla="*/ 28 h 31"/>
                <a:gd name="T86" fmla="*/ 49 w 49"/>
                <a:gd name="T87" fmla="*/ 2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9" h="31">
                  <a:moveTo>
                    <a:pt x="49" y="28"/>
                  </a:moveTo>
                  <a:lnTo>
                    <a:pt x="49" y="30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2" y="28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9" y="30"/>
                  </a:lnTo>
                  <a:lnTo>
                    <a:pt x="7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17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0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</a:path>
              </a:pathLst>
            </a:custGeom>
            <a:grpFill/>
            <a:ln w="19050" cmpd="dbl">
              <a:noFill/>
              <a:round/>
              <a:headEnd/>
              <a:tailEnd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Freeform 184"/>
            <p:cNvSpPr>
              <a:spLocks/>
            </p:cNvSpPr>
            <p:nvPr/>
          </p:nvSpPr>
          <p:spPr bwMode="auto">
            <a:xfrm>
              <a:off x="1022350" y="4143375"/>
              <a:ext cx="1416050" cy="1570038"/>
            </a:xfrm>
            <a:custGeom>
              <a:avLst/>
              <a:gdLst>
                <a:gd name="T0" fmla="*/ 596 w 892"/>
                <a:gd name="T1" fmla="*/ 966 h 989"/>
                <a:gd name="T2" fmla="*/ 553 w 892"/>
                <a:gd name="T3" fmla="*/ 859 h 989"/>
                <a:gd name="T4" fmla="*/ 448 w 892"/>
                <a:gd name="T5" fmla="*/ 749 h 989"/>
                <a:gd name="T6" fmla="*/ 209 w 892"/>
                <a:gd name="T7" fmla="*/ 807 h 989"/>
                <a:gd name="T8" fmla="*/ 211 w 892"/>
                <a:gd name="T9" fmla="*/ 766 h 989"/>
                <a:gd name="T10" fmla="*/ 223 w 892"/>
                <a:gd name="T11" fmla="*/ 741 h 989"/>
                <a:gd name="T12" fmla="*/ 261 w 892"/>
                <a:gd name="T13" fmla="*/ 685 h 989"/>
                <a:gd name="T14" fmla="*/ 254 w 892"/>
                <a:gd name="T15" fmla="*/ 652 h 989"/>
                <a:gd name="T16" fmla="*/ 273 w 892"/>
                <a:gd name="T17" fmla="*/ 667 h 989"/>
                <a:gd name="T18" fmla="*/ 263 w 892"/>
                <a:gd name="T19" fmla="*/ 643 h 989"/>
                <a:gd name="T20" fmla="*/ 241 w 892"/>
                <a:gd name="T21" fmla="*/ 622 h 989"/>
                <a:gd name="T22" fmla="*/ 213 w 892"/>
                <a:gd name="T23" fmla="*/ 620 h 989"/>
                <a:gd name="T24" fmla="*/ 165 w 892"/>
                <a:gd name="T25" fmla="*/ 609 h 989"/>
                <a:gd name="T26" fmla="*/ 150 w 892"/>
                <a:gd name="T27" fmla="*/ 561 h 989"/>
                <a:gd name="T28" fmla="*/ 139 w 892"/>
                <a:gd name="T29" fmla="*/ 534 h 989"/>
                <a:gd name="T30" fmla="*/ 100 w 892"/>
                <a:gd name="T31" fmla="*/ 501 h 989"/>
                <a:gd name="T32" fmla="*/ 96 w 892"/>
                <a:gd name="T33" fmla="*/ 447 h 989"/>
                <a:gd name="T34" fmla="*/ 80 w 892"/>
                <a:gd name="T35" fmla="*/ 405 h 989"/>
                <a:gd name="T36" fmla="*/ 73 w 892"/>
                <a:gd name="T37" fmla="*/ 338 h 989"/>
                <a:gd name="T38" fmla="*/ 17 w 892"/>
                <a:gd name="T39" fmla="*/ 293 h 989"/>
                <a:gd name="T40" fmla="*/ 4 w 892"/>
                <a:gd name="T41" fmla="*/ 251 h 989"/>
                <a:gd name="T42" fmla="*/ 14 w 892"/>
                <a:gd name="T43" fmla="*/ 232 h 989"/>
                <a:gd name="T44" fmla="*/ 48 w 892"/>
                <a:gd name="T45" fmla="*/ 238 h 989"/>
                <a:gd name="T46" fmla="*/ 62 w 892"/>
                <a:gd name="T47" fmla="*/ 243 h 989"/>
                <a:gd name="T48" fmla="*/ 99 w 892"/>
                <a:gd name="T49" fmla="*/ 255 h 989"/>
                <a:gd name="T50" fmla="*/ 115 w 892"/>
                <a:gd name="T51" fmla="*/ 280 h 989"/>
                <a:gd name="T52" fmla="*/ 156 w 892"/>
                <a:gd name="T53" fmla="*/ 278 h 989"/>
                <a:gd name="T54" fmla="*/ 172 w 892"/>
                <a:gd name="T55" fmla="*/ 285 h 989"/>
                <a:gd name="T56" fmla="*/ 157 w 892"/>
                <a:gd name="T57" fmla="*/ 264 h 989"/>
                <a:gd name="T58" fmla="*/ 140 w 892"/>
                <a:gd name="T59" fmla="*/ 238 h 989"/>
                <a:gd name="T60" fmla="*/ 117 w 892"/>
                <a:gd name="T61" fmla="*/ 190 h 989"/>
                <a:gd name="T62" fmla="*/ 153 w 892"/>
                <a:gd name="T63" fmla="*/ 176 h 989"/>
                <a:gd name="T64" fmla="*/ 175 w 892"/>
                <a:gd name="T65" fmla="*/ 137 h 989"/>
                <a:gd name="T66" fmla="*/ 201 w 892"/>
                <a:gd name="T67" fmla="*/ 129 h 989"/>
                <a:gd name="T68" fmla="*/ 246 w 892"/>
                <a:gd name="T69" fmla="*/ 122 h 989"/>
                <a:gd name="T70" fmla="*/ 306 w 892"/>
                <a:gd name="T71" fmla="*/ 138 h 989"/>
                <a:gd name="T72" fmla="*/ 353 w 892"/>
                <a:gd name="T73" fmla="*/ 154 h 989"/>
                <a:gd name="T74" fmla="*/ 380 w 892"/>
                <a:gd name="T75" fmla="*/ 167 h 989"/>
                <a:gd name="T76" fmla="*/ 387 w 892"/>
                <a:gd name="T77" fmla="*/ 166 h 989"/>
                <a:gd name="T78" fmla="*/ 424 w 892"/>
                <a:gd name="T79" fmla="*/ 175 h 989"/>
                <a:gd name="T80" fmla="*/ 450 w 892"/>
                <a:gd name="T81" fmla="*/ 180 h 989"/>
                <a:gd name="T82" fmla="*/ 468 w 892"/>
                <a:gd name="T83" fmla="*/ 184 h 989"/>
                <a:gd name="T84" fmla="*/ 483 w 892"/>
                <a:gd name="T85" fmla="*/ 184 h 989"/>
                <a:gd name="T86" fmla="*/ 450 w 892"/>
                <a:gd name="T87" fmla="*/ 176 h 989"/>
                <a:gd name="T88" fmla="*/ 433 w 892"/>
                <a:gd name="T89" fmla="*/ 160 h 989"/>
                <a:gd name="T90" fmla="*/ 375 w 892"/>
                <a:gd name="T91" fmla="*/ 124 h 989"/>
                <a:gd name="T92" fmla="*/ 377 w 892"/>
                <a:gd name="T93" fmla="*/ 106 h 989"/>
                <a:gd name="T94" fmla="*/ 394 w 892"/>
                <a:gd name="T95" fmla="*/ 109 h 989"/>
                <a:gd name="T96" fmla="*/ 404 w 892"/>
                <a:gd name="T97" fmla="*/ 88 h 989"/>
                <a:gd name="T98" fmla="*/ 522 w 892"/>
                <a:gd name="T99" fmla="*/ 71 h 989"/>
                <a:gd name="T100" fmla="*/ 544 w 892"/>
                <a:gd name="T101" fmla="*/ 40 h 989"/>
                <a:gd name="T102" fmla="*/ 575 w 892"/>
                <a:gd name="T103" fmla="*/ 20 h 989"/>
                <a:gd name="T104" fmla="*/ 673 w 892"/>
                <a:gd name="T105" fmla="*/ 15 h 989"/>
                <a:gd name="T106" fmla="*/ 784 w 892"/>
                <a:gd name="T107" fmla="*/ 26 h 989"/>
                <a:gd name="T108" fmla="*/ 798 w 892"/>
                <a:gd name="T109" fmla="*/ 53 h 989"/>
                <a:gd name="T110" fmla="*/ 818 w 892"/>
                <a:gd name="T111" fmla="*/ 66 h 989"/>
                <a:gd name="T112" fmla="*/ 855 w 892"/>
                <a:gd name="T113" fmla="*/ 83 h 989"/>
                <a:gd name="T114" fmla="*/ 789 w 892"/>
                <a:gd name="T115" fmla="*/ 295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92" h="989">
                  <a:moveTo>
                    <a:pt x="687" y="989"/>
                  </a:moveTo>
                  <a:lnTo>
                    <a:pt x="687" y="989"/>
                  </a:lnTo>
                  <a:lnTo>
                    <a:pt x="656" y="989"/>
                  </a:lnTo>
                  <a:lnTo>
                    <a:pt x="630" y="989"/>
                  </a:lnTo>
                  <a:lnTo>
                    <a:pt x="618" y="987"/>
                  </a:lnTo>
                  <a:lnTo>
                    <a:pt x="609" y="986"/>
                  </a:lnTo>
                  <a:lnTo>
                    <a:pt x="609" y="986"/>
                  </a:lnTo>
                  <a:lnTo>
                    <a:pt x="604" y="981"/>
                  </a:lnTo>
                  <a:lnTo>
                    <a:pt x="596" y="966"/>
                  </a:lnTo>
                  <a:lnTo>
                    <a:pt x="596" y="966"/>
                  </a:lnTo>
                  <a:lnTo>
                    <a:pt x="591" y="960"/>
                  </a:lnTo>
                  <a:lnTo>
                    <a:pt x="584" y="950"/>
                  </a:lnTo>
                  <a:lnTo>
                    <a:pt x="574" y="926"/>
                  </a:lnTo>
                  <a:lnTo>
                    <a:pt x="566" y="906"/>
                  </a:lnTo>
                  <a:lnTo>
                    <a:pt x="562" y="897"/>
                  </a:lnTo>
                  <a:lnTo>
                    <a:pt x="562" y="897"/>
                  </a:lnTo>
                  <a:lnTo>
                    <a:pt x="555" y="877"/>
                  </a:lnTo>
                  <a:lnTo>
                    <a:pt x="555" y="877"/>
                  </a:lnTo>
                  <a:lnTo>
                    <a:pt x="553" y="868"/>
                  </a:lnTo>
                  <a:lnTo>
                    <a:pt x="553" y="859"/>
                  </a:lnTo>
                  <a:lnTo>
                    <a:pt x="553" y="859"/>
                  </a:lnTo>
                  <a:lnTo>
                    <a:pt x="551" y="851"/>
                  </a:lnTo>
                  <a:lnTo>
                    <a:pt x="548" y="843"/>
                  </a:lnTo>
                  <a:lnTo>
                    <a:pt x="542" y="836"/>
                  </a:lnTo>
                  <a:lnTo>
                    <a:pt x="534" y="825"/>
                  </a:lnTo>
                  <a:lnTo>
                    <a:pt x="509" y="797"/>
                  </a:lnTo>
                  <a:lnTo>
                    <a:pt x="465" y="751"/>
                  </a:lnTo>
                  <a:lnTo>
                    <a:pt x="465" y="751"/>
                  </a:lnTo>
                  <a:lnTo>
                    <a:pt x="460" y="750"/>
                  </a:lnTo>
                  <a:lnTo>
                    <a:pt x="448" y="749"/>
                  </a:lnTo>
                  <a:lnTo>
                    <a:pt x="419" y="749"/>
                  </a:lnTo>
                  <a:lnTo>
                    <a:pt x="377" y="750"/>
                  </a:lnTo>
                  <a:lnTo>
                    <a:pt x="280" y="771"/>
                  </a:lnTo>
                  <a:lnTo>
                    <a:pt x="280" y="771"/>
                  </a:lnTo>
                  <a:lnTo>
                    <a:pt x="241" y="797"/>
                  </a:lnTo>
                  <a:lnTo>
                    <a:pt x="214" y="814"/>
                  </a:lnTo>
                  <a:lnTo>
                    <a:pt x="201" y="820"/>
                  </a:lnTo>
                  <a:lnTo>
                    <a:pt x="201" y="820"/>
                  </a:lnTo>
                  <a:lnTo>
                    <a:pt x="205" y="815"/>
                  </a:lnTo>
                  <a:lnTo>
                    <a:pt x="209" y="807"/>
                  </a:lnTo>
                  <a:lnTo>
                    <a:pt x="214" y="793"/>
                  </a:lnTo>
                  <a:lnTo>
                    <a:pt x="214" y="793"/>
                  </a:lnTo>
                  <a:lnTo>
                    <a:pt x="214" y="788"/>
                  </a:lnTo>
                  <a:lnTo>
                    <a:pt x="214" y="785"/>
                  </a:lnTo>
                  <a:lnTo>
                    <a:pt x="213" y="782"/>
                  </a:lnTo>
                  <a:lnTo>
                    <a:pt x="213" y="782"/>
                  </a:lnTo>
                  <a:lnTo>
                    <a:pt x="213" y="779"/>
                  </a:lnTo>
                  <a:lnTo>
                    <a:pt x="209" y="775"/>
                  </a:lnTo>
                  <a:lnTo>
                    <a:pt x="209" y="775"/>
                  </a:lnTo>
                  <a:lnTo>
                    <a:pt x="211" y="766"/>
                  </a:lnTo>
                  <a:lnTo>
                    <a:pt x="210" y="763"/>
                  </a:lnTo>
                  <a:lnTo>
                    <a:pt x="209" y="760"/>
                  </a:lnTo>
                  <a:lnTo>
                    <a:pt x="209" y="760"/>
                  </a:lnTo>
                  <a:lnTo>
                    <a:pt x="211" y="753"/>
                  </a:lnTo>
                  <a:lnTo>
                    <a:pt x="214" y="747"/>
                  </a:lnTo>
                  <a:lnTo>
                    <a:pt x="218" y="744"/>
                  </a:lnTo>
                  <a:lnTo>
                    <a:pt x="218" y="744"/>
                  </a:lnTo>
                  <a:lnTo>
                    <a:pt x="220" y="742"/>
                  </a:lnTo>
                  <a:lnTo>
                    <a:pt x="223" y="741"/>
                  </a:lnTo>
                  <a:lnTo>
                    <a:pt x="223" y="741"/>
                  </a:lnTo>
                  <a:lnTo>
                    <a:pt x="228" y="736"/>
                  </a:lnTo>
                  <a:lnTo>
                    <a:pt x="236" y="727"/>
                  </a:lnTo>
                  <a:lnTo>
                    <a:pt x="236" y="727"/>
                  </a:lnTo>
                  <a:lnTo>
                    <a:pt x="249" y="707"/>
                  </a:lnTo>
                  <a:lnTo>
                    <a:pt x="257" y="696"/>
                  </a:lnTo>
                  <a:lnTo>
                    <a:pt x="257" y="696"/>
                  </a:lnTo>
                  <a:lnTo>
                    <a:pt x="257" y="693"/>
                  </a:lnTo>
                  <a:lnTo>
                    <a:pt x="258" y="690"/>
                  </a:lnTo>
                  <a:lnTo>
                    <a:pt x="261" y="685"/>
                  </a:lnTo>
                  <a:lnTo>
                    <a:pt x="261" y="685"/>
                  </a:lnTo>
                  <a:lnTo>
                    <a:pt x="261" y="680"/>
                  </a:lnTo>
                  <a:lnTo>
                    <a:pt x="261" y="667"/>
                  </a:lnTo>
                  <a:lnTo>
                    <a:pt x="261" y="667"/>
                  </a:lnTo>
                  <a:lnTo>
                    <a:pt x="259" y="662"/>
                  </a:lnTo>
                  <a:lnTo>
                    <a:pt x="257" y="658"/>
                  </a:lnTo>
                  <a:lnTo>
                    <a:pt x="251" y="649"/>
                  </a:lnTo>
                  <a:lnTo>
                    <a:pt x="251" y="649"/>
                  </a:lnTo>
                  <a:lnTo>
                    <a:pt x="251" y="645"/>
                  </a:lnTo>
                  <a:lnTo>
                    <a:pt x="251" y="645"/>
                  </a:lnTo>
                  <a:lnTo>
                    <a:pt x="254" y="652"/>
                  </a:lnTo>
                  <a:lnTo>
                    <a:pt x="261" y="661"/>
                  </a:lnTo>
                  <a:lnTo>
                    <a:pt x="261" y="661"/>
                  </a:lnTo>
                  <a:lnTo>
                    <a:pt x="263" y="666"/>
                  </a:lnTo>
                  <a:lnTo>
                    <a:pt x="264" y="671"/>
                  </a:lnTo>
                  <a:lnTo>
                    <a:pt x="264" y="676"/>
                  </a:lnTo>
                  <a:lnTo>
                    <a:pt x="266" y="678"/>
                  </a:lnTo>
                  <a:lnTo>
                    <a:pt x="266" y="678"/>
                  </a:lnTo>
                  <a:lnTo>
                    <a:pt x="267" y="676"/>
                  </a:lnTo>
                  <a:lnTo>
                    <a:pt x="272" y="671"/>
                  </a:lnTo>
                  <a:lnTo>
                    <a:pt x="273" y="667"/>
                  </a:lnTo>
                  <a:lnTo>
                    <a:pt x="275" y="662"/>
                  </a:lnTo>
                  <a:lnTo>
                    <a:pt x="275" y="657"/>
                  </a:lnTo>
                  <a:lnTo>
                    <a:pt x="275" y="650"/>
                  </a:lnTo>
                  <a:lnTo>
                    <a:pt x="275" y="650"/>
                  </a:lnTo>
                  <a:lnTo>
                    <a:pt x="273" y="648"/>
                  </a:lnTo>
                  <a:lnTo>
                    <a:pt x="272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4" y="644"/>
                  </a:lnTo>
                  <a:lnTo>
                    <a:pt x="263" y="643"/>
                  </a:lnTo>
                  <a:lnTo>
                    <a:pt x="259" y="644"/>
                  </a:lnTo>
                  <a:lnTo>
                    <a:pt x="259" y="644"/>
                  </a:lnTo>
                  <a:lnTo>
                    <a:pt x="261" y="641"/>
                  </a:lnTo>
                  <a:lnTo>
                    <a:pt x="261" y="636"/>
                  </a:lnTo>
                  <a:lnTo>
                    <a:pt x="261" y="633"/>
                  </a:lnTo>
                  <a:lnTo>
                    <a:pt x="258" y="631"/>
                  </a:lnTo>
                  <a:lnTo>
                    <a:pt x="255" y="630"/>
                  </a:lnTo>
                  <a:lnTo>
                    <a:pt x="251" y="628"/>
                  </a:lnTo>
                  <a:lnTo>
                    <a:pt x="251" y="628"/>
                  </a:lnTo>
                  <a:lnTo>
                    <a:pt x="241" y="622"/>
                  </a:lnTo>
                  <a:lnTo>
                    <a:pt x="232" y="620"/>
                  </a:lnTo>
                  <a:lnTo>
                    <a:pt x="232" y="620"/>
                  </a:lnTo>
                  <a:lnTo>
                    <a:pt x="227" y="619"/>
                  </a:lnTo>
                  <a:lnTo>
                    <a:pt x="223" y="620"/>
                  </a:lnTo>
                  <a:lnTo>
                    <a:pt x="223" y="620"/>
                  </a:lnTo>
                  <a:lnTo>
                    <a:pt x="218" y="624"/>
                  </a:lnTo>
                  <a:lnTo>
                    <a:pt x="215" y="627"/>
                  </a:lnTo>
                  <a:lnTo>
                    <a:pt x="215" y="627"/>
                  </a:lnTo>
                  <a:lnTo>
                    <a:pt x="214" y="624"/>
                  </a:lnTo>
                  <a:lnTo>
                    <a:pt x="213" y="620"/>
                  </a:lnTo>
                  <a:lnTo>
                    <a:pt x="210" y="613"/>
                  </a:lnTo>
                  <a:lnTo>
                    <a:pt x="210" y="613"/>
                  </a:lnTo>
                  <a:lnTo>
                    <a:pt x="209" y="610"/>
                  </a:lnTo>
                  <a:lnTo>
                    <a:pt x="205" y="608"/>
                  </a:lnTo>
                  <a:lnTo>
                    <a:pt x="192" y="605"/>
                  </a:lnTo>
                  <a:lnTo>
                    <a:pt x="192" y="605"/>
                  </a:lnTo>
                  <a:lnTo>
                    <a:pt x="178" y="606"/>
                  </a:lnTo>
                  <a:lnTo>
                    <a:pt x="178" y="606"/>
                  </a:lnTo>
                  <a:lnTo>
                    <a:pt x="168" y="608"/>
                  </a:lnTo>
                  <a:lnTo>
                    <a:pt x="165" y="609"/>
                  </a:lnTo>
                  <a:lnTo>
                    <a:pt x="165" y="609"/>
                  </a:lnTo>
                  <a:lnTo>
                    <a:pt x="163" y="605"/>
                  </a:lnTo>
                  <a:lnTo>
                    <a:pt x="161" y="596"/>
                  </a:lnTo>
                  <a:lnTo>
                    <a:pt x="161" y="596"/>
                  </a:lnTo>
                  <a:lnTo>
                    <a:pt x="154" y="582"/>
                  </a:lnTo>
                  <a:lnTo>
                    <a:pt x="154" y="582"/>
                  </a:lnTo>
                  <a:lnTo>
                    <a:pt x="154" y="576"/>
                  </a:lnTo>
                  <a:lnTo>
                    <a:pt x="153" y="567"/>
                  </a:lnTo>
                  <a:lnTo>
                    <a:pt x="153" y="567"/>
                  </a:lnTo>
                  <a:lnTo>
                    <a:pt x="150" y="561"/>
                  </a:lnTo>
                  <a:lnTo>
                    <a:pt x="146" y="558"/>
                  </a:lnTo>
                  <a:lnTo>
                    <a:pt x="143" y="554"/>
                  </a:lnTo>
                  <a:lnTo>
                    <a:pt x="140" y="551"/>
                  </a:lnTo>
                  <a:lnTo>
                    <a:pt x="140" y="551"/>
                  </a:lnTo>
                  <a:lnTo>
                    <a:pt x="143" y="547"/>
                  </a:lnTo>
                  <a:lnTo>
                    <a:pt x="143" y="543"/>
                  </a:lnTo>
                  <a:lnTo>
                    <a:pt x="143" y="543"/>
                  </a:lnTo>
                  <a:lnTo>
                    <a:pt x="140" y="538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14" y="534"/>
                  </a:lnTo>
                  <a:lnTo>
                    <a:pt x="97" y="534"/>
                  </a:lnTo>
                  <a:lnTo>
                    <a:pt x="92" y="532"/>
                  </a:lnTo>
                  <a:lnTo>
                    <a:pt x="89" y="531"/>
                  </a:lnTo>
                  <a:lnTo>
                    <a:pt x="89" y="531"/>
                  </a:lnTo>
                  <a:lnTo>
                    <a:pt x="88" y="530"/>
                  </a:lnTo>
                  <a:lnTo>
                    <a:pt x="89" y="527"/>
                  </a:lnTo>
                  <a:lnTo>
                    <a:pt x="92" y="519"/>
                  </a:lnTo>
                  <a:lnTo>
                    <a:pt x="97" y="510"/>
                  </a:lnTo>
                  <a:lnTo>
                    <a:pt x="100" y="501"/>
                  </a:lnTo>
                  <a:lnTo>
                    <a:pt x="100" y="501"/>
                  </a:lnTo>
                  <a:lnTo>
                    <a:pt x="105" y="488"/>
                  </a:lnTo>
                  <a:lnTo>
                    <a:pt x="106" y="479"/>
                  </a:lnTo>
                  <a:lnTo>
                    <a:pt x="105" y="470"/>
                  </a:lnTo>
                  <a:lnTo>
                    <a:pt x="105" y="470"/>
                  </a:lnTo>
                  <a:lnTo>
                    <a:pt x="105" y="461"/>
                  </a:lnTo>
                  <a:lnTo>
                    <a:pt x="105" y="456"/>
                  </a:lnTo>
                  <a:lnTo>
                    <a:pt x="104" y="452"/>
                  </a:lnTo>
                  <a:lnTo>
                    <a:pt x="104" y="452"/>
                  </a:lnTo>
                  <a:lnTo>
                    <a:pt x="96" y="447"/>
                  </a:lnTo>
                  <a:lnTo>
                    <a:pt x="93" y="444"/>
                  </a:lnTo>
                  <a:lnTo>
                    <a:pt x="91" y="438"/>
                  </a:lnTo>
                  <a:lnTo>
                    <a:pt x="91" y="438"/>
                  </a:lnTo>
                  <a:lnTo>
                    <a:pt x="88" y="427"/>
                  </a:lnTo>
                  <a:lnTo>
                    <a:pt x="84" y="417"/>
                  </a:lnTo>
                  <a:lnTo>
                    <a:pt x="84" y="417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80" y="405"/>
                  </a:lnTo>
                  <a:lnTo>
                    <a:pt x="80" y="405"/>
                  </a:lnTo>
                  <a:lnTo>
                    <a:pt x="80" y="376"/>
                  </a:lnTo>
                  <a:lnTo>
                    <a:pt x="80" y="376"/>
                  </a:lnTo>
                  <a:lnTo>
                    <a:pt x="79" y="370"/>
                  </a:lnTo>
                  <a:lnTo>
                    <a:pt x="74" y="361"/>
                  </a:lnTo>
                  <a:lnTo>
                    <a:pt x="74" y="361"/>
                  </a:lnTo>
                  <a:lnTo>
                    <a:pt x="70" y="359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71" y="346"/>
                  </a:lnTo>
                  <a:lnTo>
                    <a:pt x="73" y="338"/>
                  </a:lnTo>
                  <a:lnTo>
                    <a:pt x="71" y="330"/>
                  </a:lnTo>
                  <a:lnTo>
                    <a:pt x="70" y="324"/>
                  </a:lnTo>
                  <a:lnTo>
                    <a:pt x="70" y="324"/>
                  </a:lnTo>
                  <a:lnTo>
                    <a:pt x="69" y="320"/>
                  </a:lnTo>
                  <a:lnTo>
                    <a:pt x="66" y="31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45" y="302"/>
                  </a:lnTo>
                  <a:lnTo>
                    <a:pt x="38" y="298"/>
                  </a:lnTo>
                  <a:lnTo>
                    <a:pt x="17" y="293"/>
                  </a:lnTo>
                  <a:lnTo>
                    <a:pt x="17" y="293"/>
                  </a:lnTo>
                  <a:lnTo>
                    <a:pt x="9" y="286"/>
                  </a:lnTo>
                  <a:lnTo>
                    <a:pt x="5" y="282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0" y="272"/>
                  </a:lnTo>
                  <a:lnTo>
                    <a:pt x="0" y="267"/>
                  </a:lnTo>
                  <a:lnTo>
                    <a:pt x="3" y="255"/>
                  </a:lnTo>
                  <a:lnTo>
                    <a:pt x="3" y="255"/>
                  </a:lnTo>
                  <a:lnTo>
                    <a:pt x="4" y="251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8" y="243"/>
                  </a:lnTo>
                  <a:lnTo>
                    <a:pt x="8" y="243"/>
                  </a:lnTo>
                  <a:lnTo>
                    <a:pt x="9" y="242"/>
                  </a:lnTo>
                  <a:lnTo>
                    <a:pt x="9" y="242"/>
                  </a:lnTo>
                  <a:lnTo>
                    <a:pt x="13" y="236"/>
                  </a:lnTo>
                  <a:lnTo>
                    <a:pt x="14" y="232"/>
                  </a:lnTo>
                  <a:lnTo>
                    <a:pt x="19" y="227"/>
                  </a:lnTo>
                  <a:lnTo>
                    <a:pt x="19" y="227"/>
                  </a:lnTo>
                  <a:lnTo>
                    <a:pt x="26" y="230"/>
                  </a:lnTo>
                  <a:lnTo>
                    <a:pt x="31" y="232"/>
                  </a:lnTo>
                  <a:lnTo>
                    <a:pt x="35" y="233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44" y="236"/>
                  </a:lnTo>
                  <a:lnTo>
                    <a:pt x="45" y="236"/>
                  </a:lnTo>
                  <a:lnTo>
                    <a:pt x="48" y="238"/>
                  </a:lnTo>
                  <a:lnTo>
                    <a:pt x="48" y="238"/>
                  </a:lnTo>
                  <a:lnTo>
                    <a:pt x="51" y="237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6" y="237"/>
                  </a:lnTo>
                  <a:lnTo>
                    <a:pt x="57" y="239"/>
                  </a:lnTo>
                  <a:lnTo>
                    <a:pt x="57" y="239"/>
                  </a:lnTo>
                  <a:lnTo>
                    <a:pt x="58" y="242"/>
                  </a:lnTo>
                  <a:lnTo>
                    <a:pt x="62" y="243"/>
                  </a:lnTo>
                  <a:lnTo>
                    <a:pt x="62" y="243"/>
                  </a:lnTo>
                  <a:lnTo>
                    <a:pt x="71" y="245"/>
                  </a:lnTo>
                  <a:lnTo>
                    <a:pt x="74" y="246"/>
                  </a:lnTo>
                  <a:lnTo>
                    <a:pt x="74" y="246"/>
                  </a:lnTo>
                  <a:lnTo>
                    <a:pt x="80" y="245"/>
                  </a:lnTo>
                  <a:lnTo>
                    <a:pt x="84" y="242"/>
                  </a:lnTo>
                  <a:lnTo>
                    <a:pt x="84" y="242"/>
                  </a:lnTo>
                  <a:lnTo>
                    <a:pt x="87" y="246"/>
                  </a:lnTo>
                  <a:lnTo>
                    <a:pt x="91" y="247"/>
                  </a:lnTo>
                  <a:lnTo>
                    <a:pt x="95" y="250"/>
                  </a:lnTo>
                  <a:lnTo>
                    <a:pt x="99" y="255"/>
                  </a:lnTo>
                  <a:lnTo>
                    <a:pt x="99" y="255"/>
                  </a:lnTo>
                  <a:lnTo>
                    <a:pt x="100" y="259"/>
                  </a:lnTo>
                  <a:lnTo>
                    <a:pt x="101" y="262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5" y="267"/>
                  </a:lnTo>
                  <a:lnTo>
                    <a:pt x="106" y="269"/>
                  </a:lnTo>
                  <a:lnTo>
                    <a:pt x="113" y="277"/>
                  </a:lnTo>
                  <a:lnTo>
                    <a:pt x="113" y="277"/>
                  </a:lnTo>
                  <a:lnTo>
                    <a:pt x="115" y="280"/>
                  </a:lnTo>
                  <a:lnTo>
                    <a:pt x="118" y="281"/>
                  </a:lnTo>
                  <a:lnTo>
                    <a:pt x="123" y="282"/>
                  </a:lnTo>
                  <a:lnTo>
                    <a:pt x="131" y="282"/>
                  </a:lnTo>
                  <a:lnTo>
                    <a:pt x="131" y="282"/>
                  </a:lnTo>
                  <a:lnTo>
                    <a:pt x="134" y="282"/>
                  </a:lnTo>
                  <a:lnTo>
                    <a:pt x="136" y="280"/>
                  </a:lnTo>
                  <a:lnTo>
                    <a:pt x="145" y="273"/>
                  </a:lnTo>
                  <a:lnTo>
                    <a:pt x="145" y="273"/>
                  </a:lnTo>
                  <a:lnTo>
                    <a:pt x="152" y="276"/>
                  </a:lnTo>
                  <a:lnTo>
                    <a:pt x="156" y="278"/>
                  </a:lnTo>
                  <a:lnTo>
                    <a:pt x="158" y="281"/>
                  </a:lnTo>
                  <a:lnTo>
                    <a:pt x="161" y="282"/>
                  </a:lnTo>
                  <a:lnTo>
                    <a:pt x="161" y="282"/>
                  </a:lnTo>
                  <a:lnTo>
                    <a:pt x="166" y="281"/>
                  </a:lnTo>
                  <a:lnTo>
                    <a:pt x="168" y="281"/>
                  </a:lnTo>
                  <a:lnTo>
                    <a:pt x="170" y="282"/>
                  </a:lnTo>
                  <a:lnTo>
                    <a:pt x="170" y="282"/>
                  </a:lnTo>
                  <a:lnTo>
                    <a:pt x="170" y="284"/>
                  </a:lnTo>
                  <a:lnTo>
                    <a:pt x="170" y="284"/>
                  </a:lnTo>
                  <a:lnTo>
                    <a:pt x="172" y="285"/>
                  </a:lnTo>
                  <a:lnTo>
                    <a:pt x="176" y="285"/>
                  </a:lnTo>
                  <a:lnTo>
                    <a:pt x="179" y="285"/>
                  </a:lnTo>
                  <a:lnTo>
                    <a:pt x="179" y="285"/>
                  </a:lnTo>
                  <a:lnTo>
                    <a:pt x="178" y="278"/>
                  </a:lnTo>
                  <a:lnTo>
                    <a:pt x="176" y="276"/>
                  </a:lnTo>
                  <a:lnTo>
                    <a:pt x="172" y="272"/>
                  </a:lnTo>
                  <a:lnTo>
                    <a:pt x="172" y="272"/>
                  </a:lnTo>
                  <a:lnTo>
                    <a:pt x="170" y="268"/>
                  </a:lnTo>
                  <a:lnTo>
                    <a:pt x="166" y="267"/>
                  </a:lnTo>
                  <a:lnTo>
                    <a:pt x="157" y="264"/>
                  </a:lnTo>
                  <a:lnTo>
                    <a:pt x="149" y="264"/>
                  </a:lnTo>
                  <a:lnTo>
                    <a:pt x="145" y="263"/>
                  </a:lnTo>
                  <a:lnTo>
                    <a:pt x="145" y="263"/>
                  </a:lnTo>
                  <a:lnTo>
                    <a:pt x="146" y="260"/>
                  </a:lnTo>
                  <a:lnTo>
                    <a:pt x="146" y="259"/>
                  </a:lnTo>
                  <a:lnTo>
                    <a:pt x="148" y="255"/>
                  </a:lnTo>
                  <a:lnTo>
                    <a:pt x="148" y="255"/>
                  </a:lnTo>
                  <a:lnTo>
                    <a:pt x="144" y="246"/>
                  </a:lnTo>
                  <a:lnTo>
                    <a:pt x="143" y="242"/>
                  </a:lnTo>
                  <a:lnTo>
                    <a:pt x="140" y="238"/>
                  </a:lnTo>
                  <a:lnTo>
                    <a:pt x="140" y="238"/>
                  </a:lnTo>
                  <a:lnTo>
                    <a:pt x="137" y="230"/>
                  </a:lnTo>
                  <a:lnTo>
                    <a:pt x="136" y="225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26" y="215"/>
                  </a:lnTo>
                  <a:lnTo>
                    <a:pt x="119" y="207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7" y="190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36" y="182"/>
                  </a:lnTo>
                  <a:lnTo>
                    <a:pt x="136" y="182"/>
                  </a:lnTo>
                  <a:lnTo>
                    <a:pt x="140" y="180"/>
                  </a:lnTo>
                  <a:lnTo>
                    <a:pt x="144" y="179"/>
                  </a:lnTo>
                  <a:lnTo>
                    <a:pt x="148" y="176"/>
                  </a:lnTo>
                  <a:lnTo>
                    <a:pt x="148" y="176"/>
                  </a:lnTo>
                  <a:lnTo>
                    <a:pt x="149" y="176"/>
                  </a:lnTo>
                  <a:lnTo>
                    <a:pt x="153" y="176"/>
                  </a:lnTo>
                  <a:lnTo>
                    <a:pt x="153" y="176"/>
                  </a:lnTo>
                  <a:lnTo>
                    <a:pt x="156" y="179"/>
                  </a:lnTo>
                  <a:lnTo>
                    <a:pt x="157" y="179"/>
                  </a:lnTo>
                  <a:lnTo>
                    <a:pt x="158" y="179"/>
                  </a:lnTo>
                  <a:lnTo>
                    <a:pt x="158" y="179"/>
                  </a:lnTo>
                  <a:lnTo>
                    <a:pt x="161" y="168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70" y="144"/>
                  </a:lnTo>
                  <a:lnTo>
                    <a:pt x="175" y="137"/>
                  </a:lnTo>
                  <a:lnTo>
                    <a:pt x="183" y="131"/>
                  </a:lnTo>
                  <a:lnTo>
                    <a:pt x="183" y="131"/>
                  </a:lnTo>
                  <a:lnTo>
                    <a:pt x="187" y="129"/>
                  </a:lnTo>
                  <a:lnTo>
                    <a:pt x="191" y="127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6" y="124"/>
                  </a:lnTo>
                  <a:lnTo>
                    <a:pt x="198" y="125"/>
                  </a:lnTo>
                  <a:lnTo>
                    <a:pt x="201" y="129"/>
                  </a:lnTo>
                  <a:lnTo>
                    <a:pt x="201" y="129"/>
                  </a:lnTo>
                  <a:lnTo>
                    <a:pt x="203" y="131"/>
                  </a:lnTo>
                  <a:lnTo>
                    <a:pt x="206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32" y="123"/>
                  </a:lnTo>
                  <a:lnTo>
                    <a:pt x="232" y="123"/>
                  </a:lnTo>
                  <a:lnTo>
                    <a:pt x="240" y="115"/>
                  </a:lnTo>
                  <a:lnTo>
                    <a:pt x="240" y="115"/>
                  </a:lnTo>
                  <a:lnTo>
                    <a:pt x="242" y="119"/>
                  </a:lnTo>
                  <a:lnTo>
                    <a:pt x="246" y="122"/>
                  </a:lnTo>
                  <a:lnTo>
                    <a:pt x="251" y="124"/>
                  </a:lnTo>
                  <a:lnTo>
                    <a:pt x="251" y="124"/>
                  </a:lnTo>
                  <a:lnTo>
                    <a:pt x="264" y="127"/>
                  </a:lnTo>
                  <a:lnTo>
                    <a:pt x="275" y="131"/>
                  </a:lnTo>
                  <a:lnTo>
                    <a:pt x="280" y="133"/>
                  </a:lnTo>
                  <a:lnTo>
                    <a:pt x="284" y="137"/>
                  </a:lnTo>
                  <a:lnTo>
                    <a:pt x="284" y="137"/>
                  </a:lnTo>
                  <a:lnTo>
                    <a:pt x="293" y="137"/>
                  </a:lnTo>
                  <a:lnTo>
                    <a:pt x="306" y="138"/>
                  </a:lnTo>
                  <a:lnTo>
                    <a:pt x="306" y="138"/>
                  </a:lnTo>
                  <a:lnTo>
                    <a:pt x="314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29" y="140"/>
                  </a:lnTo>
                  <a:lnTo>
                    <a:pt x="334" y="141"/>
                  </a:lnTo>
                  <a:lnTo>
                    <a:pt x="338" y="144"/>
                  </a:lnTo>
                  <a:lnTo>
                    <a:pt x="338" y="144"/>
                  </a:lnTo>
                  <a:lnTo>
                    <a:pt x="345" y="147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4" y="155"/>
                  </a:lnTo>
                  <a:lnTo>
                    <a:pt x="356" y="158"/>
                  </a:lnTo>
                  <a:lnTo>
                    <a:pt x="360" y="159"/>
                  </a:lnTo>
                  <a:lnTo>
                    <a:pt x="369" y="160"/>
                  </a:lnTo>
                  <a:lnTo>
                    <a:pt x="369" y="160"/>
                  </a:lnTo>
                  <a:lnTo>
                    <a:pt x="375" y="166"/>
                  </a:lnTo>
                  <a:lnTo>
                    <a:pt x="378" y="168"/>
                  </a:lnTo>
                  <a:lnTo>
                    <a:pt x="381" y="168"/>
                  </a:lnTo>
                  <a:lnTo>
                    <a:pt x="381" y="168"/>
                  </a:lnTo>
                  <a:lnTo>
                    <a:pt x="380" y="167"/>
                  </a:lnTo>
                  <a:lnTo>
                    <a:pt x="378" y="163"/>
                  </a:lnTo>
                  <a:lnTo>
                    <a:pt x="375" y="159"/>
                  </a:lnTo>
                  <a:lnTo>
                    <a:pt x="375" y="159"/>
                  </a:lnTo>
                  <a:lnTo>
                    <a:pt x="377" y="155"/>
                  </a:lnTo>
                  <a:lnTo>
                    <a:pt x="378" y="154"/>
                  </a:lnTo>
                  <a:lnTo>
                    <a:pt x="380" y="153"/>
                  </a:lnTo>
                  <a:lnTo>
                    <a:pt x="380" y="153"/>
                  </a:lnTo>
                  <a:lnTo>
                    <a:pt x="382" y="155"/>
                  </a:lnTo>
                  <a:lnTo>
                    <a:pt x="385" y="160"/>
                  </a:lnTo>
                  <a:lnTo>
                    <a:pt x="387" y="166"/>
                  </a:lnTo>
                  <a:lnTo>
                    <a:pt x="391" y="168"/>
                  </a:lnTo>
                  <a:lnTo>
                    <a:pt x="391" y="168"/>
                  </a:lnTo>
                  <a:lnTo>
                    <a:pt x="400" y="171"/>
                  </a:lnTo>
                  <a:lnTo>
                    <a:pt x="406" y="173"/>
                  </a:lnTo>
                  <a:lnTo>
                    <a:pt x="411" y="176"/>
                  </a:lnTo>
                  <a:lnTo>
                    <a:pt x="411" y="176"/>
                  </a:lnTo>
                  <a:lnTo>
                    <a:pt x="413" y="176"/>
                  </a:lnTo>
                  <a:lnTo>
                    <a:pt x="417" y="175"/>
                  </a:lnTo>
                  <a:lnTo>
                    <a:pt x="420" y="175"/>
                  </a:lnTo>
                  <a:lnTo>
                    <a:pt x="424" y="175"/>
                  </a:lnTo>
                  <a:lnTo>
                    <a:pt x="424" y="175"/>
                  </a:lnTo>
                  <a:lnTo>
                    <a:pt x="426" y="172"/>
                  </a:lnTo>
                  <a:lnTo>
                    <a:pt x="429" y="172"/>
                  </a:lnTo>
                  <a:lnTo>
                    <a:pt x="432" y="172"/>
                  </a:lnTo>
                  <a:lnTo>
                    <a:pt x="432" y="172"/>
                  </a:lnTo>
                  <a:lnTo>
                    <a:pt x="434" y="175"/>
                  </a:lnTo>
                  <a:lnTo>
                    <a:pt x="437" y="177"/>
                  </a:lnTo>
                  <a:lnTo>
                    <a:pt x="439" y="180"/>
                  </a:lnTo>
                  <a:lnTo>
                    <a:pt x="450" y="180"/>
                  </a:lnTo>
                  <a:lnTo>
                    <a:pt x="450" y="180"/>
                  </a:lnTo>
                  <a:lnTo>
                    <a:pt x="451" y="181"/>
                  </a:lnTo>
                  <a:lnTo>
                    <a:pt x="454" y="182"/>
                  </a:lnTo>
                  <a:lnTo>
                    <a:pt x="454" y="182"/>
                  </a:lnTo>
                  <a:lnTo>
                    <a:pt x="456" y="181"/>
                  </a:lnTo>
                  <a:lnTo>
                    <a:pt x="459" y="181"/>
                  </a:lnTo>
                  <a:lnTo>
                    <a:pt x="459" y="181"/>
                  </a:lnTo>
                  <a:lnTo>
                    <a:pt x="460" y="182"/>
                  </a:lnTo>
                  <a:lnTo>
                    <a:pt x="463" y="184"/>
                  </a:lnTo>
                  <a:lnTo>
                    <a:pt x="463" y="184"/>
                  </a:lnTo>
                  <a:lnTo>
                    <a:pt x="468" y="184"/>
                  </a:lnTo>
                  <a:lnTo>
                    <a:pt x="472" y="185"/>
                  </a:lnTo>
                  <a:lnTo>
                    <a:pt x="473" y="185"/>
                  </a:lnTo>
                  <a:lnTo>
                    <a:pt x="473" y="185"/>
                  </a:lnTo>
                  <a:lnTo>
                    <a:pt x="477" y="185"/>
                  </a:lnTo>
                  <a:lnTo>
                    <a:pt x="479" y="185"/>
                  </a:lnTo>
                  <a:lnTo>
                    <a:pt x="481" y="186"/>
                  </a:lnTo>
                  <a:lnTo>
                    <a:pt x="481" y="186"/>
                  </a:lnTo>
                  <a:lnTo>
                    <a:pt x="483" y="186"/>
                  </a:lnTo>
                  <a:lnTo>
                    <a:pt x="483" y="186"/>
                  </a:lnTo>
                  <a:lnTo>
                    <a:pt x="483" y="184"/>
                  </a:lnTo>
                  <a:lnTo>
                    <a:pt x="483" y="184"/>
                  </a:lnTo>
                  <a:lnTo>
                    <a:pt x="482" y="181"/>
                  </a:lnTo>
                  <a:lnTo>
                    <a:pt x="479" y="180"/>
                  </a:lnTo>
                  <a:lnTo>
                    <a:pt x="469" y="175"/>
                  </a:lnTo>
                  <a:lnTo>
                    <a:pt x="469" y="175"/>
                  </a:lnTo>
                  <a:lnTo>
                    <a:pt x="463" y="175"/>
                  </a:lnTo>
                  <a:lnTo>
                    <a:pt x="457" y="175"/>
                  </a:lnTo>
                  <a:lnTo>
                    <a:pt x="452" y="175"/>
                  </a:lnTo>
                  <a:lnTo>
                    <a:pt x="452" y="175"/>
                  </a:lnTo>
                  <a:lnTo>
                    <a:pt x="450" y="176"/>
                  </a:lnTo>
                  <a:lnTo>
                    <a:pt x="445" y="176"/>
                  </a:lnTo>
                  <a:lnTo>
                    <a:pt x="445" y="176"/>
                  </a:lnTo>
                  <a:lnTo>
                    <a:pt x="441" y="172"/>
                  </a:lnTo>
                  <a:lnTo>
                    <a:pt x="438" y="170"/>
                  </a:lnTo>
                  <a:lnTo>
                    <a:pt x="433" y="167"/>
                  </a:lnTo>
                  <a:lnTo>
                    <a:pt x="433" y="167"/>
                  </a:lnTo>
                  <a:lnTo>
                    <a:pt x="433" y="166"/>
                  </a:lnTo>
                  <a:lnTo>
                    <a:pt x="433" y="163"/>
                  </a:lnTo>
                  <a:lnTo>
                    <a:pt x="433" y="160"/>
                  </a:lnTo>
                  <a:lnTo>
                    <a:pt x="433" y="160"/>
                  </a:lnTo>
                  <a:lnTo>
                    <a:pt x="430" y="159"/>
                  </a:lnTo>
                  <a:lnTo>
                    <a:pt x="426" y="159"/>
                  </a:lnTo>
                  <a:lnTo>
                    <a:pt x="419" y="159"/>
                  </a:lnTo>
                  <a:lnTo>
                    <a:pt x="411" y="151"/>
                  </a:lnTo>
                  <a:lnTo>
                    <a:pt x="404" y="151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84" y="136"/>
                  </a:lnTo>
                  <a:lnTo>
                    <a:pt x="384" y="136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8" y="123"/>
                  </a:lnTo>
                  <a:lnTo>
                    <a:pt x="378" y="122"/>
                  </a:lnTo>
                  <a:lnTo>
                    <a:pt x="377" y="120"/>
                  </a:lnTo>
                  <a:lnTo>
                    <a:pt x="377" y="120"/>
                  </a:lnTo>
                  <a:lnTo>
                    <a:pt x="377" y="119"/>
                  </a:lnTo>
                  <a:lnTo>
                    <a:pt x="378" y="118"/>
                  </a:lnTo>
                  <a:lnTo>
                    <a:pt x="381" y="118"/>
                  </a:lnTo>
                  <a:lnTo>
                    <a:pt x="376" y="116"/>
                  </a:lnTo>
                  <a:lnTo>
                    <a:pt x="377" y="106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5" y="107"/>
                  </a:lnTo>
                  <a:lnTo>
                    <a:pt x="386" y="109"/>
                  </a:lnTo>
                  <a:lnTo>
                    <a:pt x="389" y="107"/>
                  </a:lnTo>
                  <a:lnTo>
                    <a:pt x="389" y="107"/>
                  </a:lnTo>
                  <a:lnTo>
                    <a:pt x="393" y="112"/>
                  </a:lnTo>
                  <a:lnTo>
                    <a:pt x="393" y="112"/>
                  </a:lnTo>
                  <a:lnTo>
                    <a:pt x="394" y="111"/>
                  </a:lnTo>
                  <a:lnTo>
                    <a:pt x="394" y="109"/>
                  </a:lnTo>
                  <a:lnTo>
                    <a:pt x="393" y="103"/>
                  </a:lnTo>
                  <a:lnTo>
                    <a:pt x="390" y="98"/>
                  </a:lnTo>
                  <a:lnTo>
                    <a:pt x="389" y="93"/>
                  </a:lnTo>
                  <a:lnTo>
                    <a:pt x="389" y="93"/>
                  </a:lnTo>
                  <a:lnTo>
                    <a:pt x="390" y="89"/>
                  </a:lnTo>
                  <a:lnTo>
                    <a:pt x="395" y="88"/>
                  </a:lnTo>
                  <a:lnTo>
                    <a:pt x="395" y="88"/>
                  </a:lnTo>
                  <a:lnTo>
                    <a:pt x="403" y="88"/>
                  </a:lnTo>
                  <a:lnTo>
                    <a:pt x="404" y="88"/>
                  </a:lnTo>
                  <a:lnTo>
                    <a:pt x="404" y="88"/>
                  </a:lnTo>
                  <a:lnTo>
                    <a:pt x="429" y="92"/>
                  </a:lnTo>
                  <a:lnTo>
                    <a:pt x="434" y="83"/>
                  </a:lnTo>
                  <a:lnTo>
                    <a:pt x="463" y="88"/>
                  </a:lnTo>
                  <a:lnTo>
                    <a:pt x="490" y="84"/>
                  </a:lnTo>
                  <a:lnTo>
                    <a:pt x="513" y="77"/>
                  </a:lnTo>
                  <a:lnTo>
                    <a:pt x="513" y="77"/>
                  </a:lnTo>
                  <a:lnTo>
                    <a:pt x="517" y="76"/>
                  </a:lnTo>
                  <a:lnTo>
                    <a:pt x="520" y="74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68"/>
                  </a:lnTo>
                  <a:lnTo>
                    <a:pt x="521" y="66"/>
                  </a:lnTo>
                  <a:lnTo>
                    <a:pt x="518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2" y="59"/>
                  </a:lnTo>
                  <a:lnTo>
                    <a:pt x="512" y="57"/>
                  </a:lnTo>
                  <a:lnTo>
                    <a:pt x="512" y="57"/>
                  </a:lnTo>
                  <a:lnTo>
                    <a:pt x="525" y="50"/>
                  </a:lnTo>
                  <a:lnTo>
                    <a:pt x="544" y="40"/>
                  </a:lnTo>
                  <a:lnTo>
                    <a:pt x="544" y="40"/>
                  </a:lnTo>
                  <a:lnTo>
                    <a:pt x="548" y="36"/>
                  </a:lnTo>
                  <a:lnTo>
                    <a:pt x="552" y="32"/>
                  </a:lnTo>
                  <a:lnTo>
                    <a:pt x="556" y="26"/>
                  </a:lnTo>
                  <a:lnTo>
                    <a:pt x="557" y="20"/>
                  </a:lnTo>
                  <a:lnTo>
                    <a:pt x="557" y="19"/>
                  </a:lnTo>
                  <a:lnTo>
                    <a:pt x="557" y="19"/>
                  </a:lnTo>
                  <a:lnTo>
                    <a:pt x="564" y="20"/>
                  </a:lnTo>
                  <a:lnTo>
                    <a:pt x="570" y="20"/>
                  </a:lnTo>
                  <a:lnTo>
                    <a:pt x="575" y="20"/>
                  </a:lnTo>
                  <a:lnTo>
                    <a:pt x="575" y="20"/>
                  </a:lnTo>
                  <a:lnTo>
                    <a:pt x="584" y="22"/>
                  </a:lnTo>
                  <a:lnTo>
                    <a:pt x="596" y="24"/>
                  </a:lnTo>
                  <a:lnTo>
                    <a:pt x="596" y="24"/>
                  </a:lnTo>
                  <a:lnTo>
                    <a:pt x="612" y="23"/>
                  </a:lnTo>
                  <a:lnTo>
                    <a:pt x="629" y="20"/>
                  </a:lnTo>
                  <a:lnTo>
                    <a:pt x="629" y="20"/>
                  </a:lnTo>
                  <a:lnTo>
                    <a:pt x="645" y="20"/>
                  </a:lnTo>
                  <a:lnTo>
                    <a:pt x="657" y="19"/>
                  </a:lnTo>
                  <a:lnTo>
                    <a:pt x="673" y="15"/>
                  </a:lnTo>
                  <a:lnTo>
                    <a:pt x="673" y="15"/>
                  </a:lnTo>
                  <a:lnTo>
                    <a:pt x="693" y="17"/>
                  </a:lnTo>
                  <a:lnTo>
                    <a:pt x="710" y="19"/>
                  </a:lnTo>
                  <a:lnTo>
                    <a:pt x="728" y="23"/>
                  </a:lnTo>
                  <a:lnTo>
                    <a:pt x="763" y="0"/>
                  </a:lnTo>
                  <a:lnTo>
                    <a:pt x="772" y="19"/>
                  </a:lnTo>
                  <a:lnTo>
                    <a:pt x="772" y="19"/>
                  </a:lnTo>
                  <a:lnTo>
                    <a:pt x="778" y="20"/>
                  </a:lnTo>
                  <a:lnTo>
                    <a:pt x="780" y="22"/>
                  </a:lnTo>
                  <a:lnTo>
                    <a:pt x="784" y="26"/>
                  </a:lnTo>
                  <a:lnTo>
                    <a:pt x="784" y="26"/>
                  </a:lnTo>
                  <a:lnTo>
                    <a:pt x="794" y="26"/>
                  </a:lnTo>
                  <a:lnTo>
                    <a:pt x="800" y="26"/>
                  </a:lnTo>
                  <a:lnTo>
                    <a:pt x="803" y="28"/>
                  </a:lnTo>
                  <a:lnTo>
                    <a:pt x="803" y="36"/>
                  </a:lnTo>
                  <a:lnTo>
                    <a:pt x="803" y="46"/>
                  </a:lnTo>
                  <a:lnTo>
                    <a:pt x="803" y="46"/>
                  </a:lnTo>
                  <a:lnTo>
                    <a:pt x="801" y="49"/>
                  </a:lnTo>
                  <a:lnTo>
                    <a:pt x="798" y="53"/>
                  </a:lnTo>
                  <a:lnTo>
                    <a:pt x="798" y="53"/>
                  </a:lnTo>
                  <a:lnTo>
                    <a:pt x="802" y="58"/>
                  </a:lnTo>
                  <a:lnTo>
                    <a:pt x="807" y="62"/>
                  </a:lnTo>
                  <a:lnTo>
                    <a:pt x="807" y="62"/>
                  </a:lnTo>
                  <a:lnTo>
                    <a:pt x="811" y="61"/>
                  </a:lnTo>
                  <a:lnTo>
                    <a:pt x="813" y="59"/>
                  </a:lnTo>
                  <a:lnTo>
                    <a:pt x="815" y="59"/>
                  </a:lnTo>
                  <a:lnTo>
                    <a:pt x="815" y="59"/>
                  </a:lnTo>
                  <a:lnTo>
                    <a:pt x="816" y="62"/>
                  </a:lnTo>
                  <a:lnTo>
                    <a:pt x="818" y="63"/>
                  </a:lnTo>
                  <a:lnTo>
                    <a:pt x="818" y="66"/>
                  </a:lnTo>
                  <a:lnTo>
                    <a:pt x="818" y="66"/>
                  </a:lnTo>
                  <a:lnTo>
                    <a:pt x="822" y="66"/>
                  </a:lnTo>
                  <a:lnTo>
                    <a:pt x="827" y="67"/>
                  </a:lnTo>
                  <a:lnTo>
                    <a:pt x="827" y="67"/>
                  </a:lnTo>
                  <a:lnTo>
                    <a:pt x="836" y="80"/>
                  </a:lnTo>
                  <a:lnTo>
                    <a:pt x="836" y="80"/>
                  </a:lnTo>
                  <a:lnTo>
                    <a:pt x="841" y="83"/>
                  </a:lnTo>
                  <a:lnTo>
                    <a:pt x="848" y="84"/>
                  </a:lnTo>
                  <a:lnTo>
                    <a:pt x="848" y="84"/>
                  </a:lnTo>
                  <a:lnTo>
                    <a:pt x="855" y="83"/>
                  </a:lnTo>
                  <a:lnTo>
                    <a:pt x="855" y="83"/>
                  </a:lnTo>
                  <a:lnTo>
                    <a:pt x="864" y="87"/>
                  </a:lnTo>
                  <a:lnTo>
                    <a:pt x="872" y="89"/>
                  </a:lnTo>
                  <a:lnTo>
                    <a:pt x="879" y="90"/>
                  </a:lnTo>
                  <a:lnTo>
                    <a:pt x="879" y="90"/>
                  </a:lnTo>
                  <a:lnTo>
                    <a:pt x="884" y="97"/>
                  </a:lnTo>
                  <a:lnTo>
                    <a:pt x="888" y="118"/>
                  </a:lnTo>
                  <a:lnTo>
                    <a:pt x="892" y="136"/>
                  </a:lnTo>
                  <a:lnTo>
                    <a:pt x="890" y="276"/>
                  </a:lnTo>
                  <a:lnTo>
                    <a:pt x="789" y="295"/>
                  </a:lnTo>
                  <a:lnTo>
                    <a:pt x="687" y="98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8" name="Freeform 185"/>
            <p:cNvSpPr>
              <a:spLocks/>
            </p:cNvSpPr>
            <p:nvPr/>
          </p:nvSpPr>
          <p:spPr bwMode="auto">
            <a:xfrm>
              <a:off x="623888" y="3270250"/>
              <a:ext cx="1793875" cy="1019175"/>
            </a:xfrm>
            <a:custGeom>
              <a:avLst/>
              <a:gdLst>
                <a:gd name="T0" fmla="*/ 1069 w 1130"/>
                <a:gd name="T1" fmla="*/ 617 h 642"/>
                <a:gd name="T2" fmla="*/ 1054 w 1130"/>
                <a:gd name="T3" fmla="*/ 586 h 642"/>
                <a:gd name="T4" fmla="*/ 924 w 1130"/>
                <a:gd name="T5" fmla="*/ 565 h 642"/>
                <a:gd name="T6" fmla="*/ 808 w 1130"/>
                <a:gd name="T7" fmla="*/ 569 h 642"/>
                <a:gd name="T8" fmla="*/ 772 w 1130"/>
                <a:gd name="T9" fmla="*/ 618 h 642"/>
                <a:gd name="T10" fmla="*/ 655 w 1130"/>
                <a:gd name="T11" fmla="*/ 624 h 642"/>
                <a:gd name="T12" fmla="*/ 705 w 1130"/>
                <a:gd name="T13" fmla="*/ 538 h 642"/>
                <a:gd name="T14" fmla="*/ 693 w 1130"/>
                <a:gd name="T15" fmla="*/ 490 h 642"/>
                <a:gd name="T16" fmla="*/ 707 w 1130"/>
                <a:gd name="T17" fmla="*/ 480 h 642"/>
                <a:gd name="T18" fmla="*/ 699 w 1130"/>
                <a:gd name="T19" fmla="*/ 464 h 642"/>
                <a:gd name="T20" fmla="*/ 694 w 1130"/>
                <a:gd name="T21" fmla="*/ 438 h 642"/>
                <a:gd name="T22" fmla="*/ 673 w 1130"/>
                <a:gd name="T23" fmla="*/ 432 h 642"/>
                <a:gd name="T24" fmla="*/ 667 w 1130"/>
                <a:gd name="T25" fmla="*/ 414 h 642"/>
                <a:gd name="T26" fmla="*/ 648 w 1130"/>
                <a:gd name="T27" fmla="*/ 410 h 642"/>
                <a:gd name="T28" fmla="*/ 616 w 1130"/>
                <a:gd name="T29" fmla="*/ 420 h 642"/>
                <a:gd name="T30" fmla="*/ 588 w 1130"/>
                <a:gd name="T31" fmla="*/ 415 h 642"/>
                <a:gd name="T32" fmla="*/ 558 w 1130"/>
                <a:gd name="T33" fmla="*/ 398 h 642"/>
                <a:gd name="T34" fmla="*/ 591 w 1130"/>
                <a:gd name="T35" fmla="*/ 424 h 642"/>
                <a:gd name="T36" fmla="*/ 545 w 1130"/>
                <a:gd name="T37" fmla="*/ 406 h 642"/>
                <a:gd name="T38" fmla="*/ 531 w 1130"/>
                <a:gd name="T39" fmla="*/ 405 h 642"/>
                <a:gd name="T40" fmla="*/ 521 w 1130"/>
                <a:gd name="T41" fmla="*/ 368 h 642"/>
                <a:gd name="T42" fmla="*/ 460 w 1130"/>
                <a:gd name="T43" fmla="*/ 370 h 642"/>
                <a:gd name="T44" fmla="*/ 416 w 1130"/>
                <a:gd name="T45" fmla="*/ 370 h 642"/>
                <a:gd name="T46" fmla="*/ 394 w 1130"/>
                <a:gd name="T47" fmla="*/ 372 h 642"/>
                <a:gd name="T48" fmla="*/ 379 w 1130"/>
                <a:gd name="T49" fmla="*/ 376 h 642"/>
                <a:gd name="T50" fmla="*/ 362 w 1130"/>
                <a:gd name="T51" fmla="*/ 381 h 642"/>
                <a:gd name="T52" fmla="*/ 339 w 1130"/>
                <a:gd name="T53" fmla="*/ 381 h 642"/>
                <a:gd name="T54" fmla="*/ 291 w 1130"/>
                <a:gd name="T55" fmla="*/ 418 h 642"/>
                <a:gd name="T56" fmla="*/ 283 w 1130"/>
                <a:gd name="T57" fmla="*/ 432 h 642"/>
                <a:gd name="T58" fmla="*/ 263 w 1130"/>
                <a:gd name="T59" fmla="*/ 436 h 642"/>
                <a:gd name="T60" fmla="*/ 268 w 1130"/>
                <a:gd name="T61" fmla="*/ 472 h 642"/>
                <a:gd name="T62" fmla="*/ 250 w 1130"/>
                <a:gd name="T63" fmla="*/ 454 h 642"/>
                <a:gd name="T64" fmla="*/ 228 w 1130"/>
                <a:gd name="T65" fmla="*/ 421 h 642"/>
                <a:gd name="T66" fmla="*/ 219 w 1130"/>
                <a:gd name="T67" fmla="*/ 427 h 642"/>
                <a:gd name="T68" fmla="*/ 185 w 1130"/>
                <a:gd name="T69" fmla="*/ 397 h 642"/>
                <a:gd name="T70" fmla="*/ 153 w 1130"/>
                <a:gd name="T71" fmla="*/ 389 h 642"/>
                <a:gd name="T72" fmla="*/ 119 w 1130"/>
                <a:gd name="T73" fmla="*/ 340 h 642"/>
                <a:gd name="T74" fmla="*/ 150 w 1130"/>
                <a:gd name="T75" fmla="*/ 348 h 642"/>
                <a:gd name="T76" fmla="*/ 158 w 1130"/>
                <a:gd name="T77" fmla="*/ 223 h 642"/>
                <a:gd name="T78" fmla="*/ 123 w 1130"/>
                <a:gd name="T79" fmla="*/ 135 h 642"/>
                <a:gd name="T80" fmla="*/ 50 w 1130"/>
                <a:gd name="T81" fmla="*/ 105 h 642"/>
                <a:gd name="T82" fmla="*/ 0 w 1130"/>
                <a:gd name="T83" fmla="*/ 90 h 642"/>
                <a:gd name="T84" fmla="*/ 11 w 1130"/>
                <a:gd name="T85" fmla="*/ 50 h 642"/>
                <a:gd name="T86" fmla="*/ 18 w 1130"/>
                <a:gd name="T87" fmla="*/ 18 h 642"/>
                <a:gd name="T88" fmla="*/ 140 w 1130"/>
                <a:gd name="T89" fmla="*/ 56 h 642"/>
                <a:gd name="T90" fmla="*/ 295 w 1130"/>
                <a:gd name="T91" fmla="*/ 117 h 642"/>
                <a:gd name="T92" fmla="*/ 383 w 1130"/>
                <a:gd name="T93" fmla="*/ 112 h 642"/>
                <a:gd name="T94" fmla="*/ 522 w 1130"/>
                <a:gd name="T95" fmla="*/ 40 h 642"/>
                <a:gd name="T96" fmla="*/ 609 w 1130"/>
                <a:gd name="T97" fmla="*/ 60 h 642"/>
                <a:gd name="T98" fmla="*/ 620 w 1130"/>
                <a:gd name="T99" fmla="*/ 86 h 642"/>
                <a:gd name="T100" fmla="*/ 684 w 1130"/>
                <a:gd name="T101" fmla="*/ 113 h 642"/>
                <a:gd name="T102" fmla="*/ 732 w 1130"/>
                <a:gd name="T103" fmla="*/ 62 h 642"/>
                <a:gd name="T104" fmla="*/ 807 w 1130"/>
                <a:gd name="T105" fmla="*/ 33 h 642"/>
                <a:gd name="T106" fmla="*/ 860 w 1130"/>
                <a:gd name="T107" fmla="*/ 0 h 642"/>
                <a:gd name="T108" fmla="*/ 891 w 1130"/>
                <a:gd name="T109" fmla="*/ 24 h 642"/>
                <a:gd name="T110" fmla="*/ 908 w 1130"/>
                <a:gd name="T111" fmla="*/ 105 h 642"/>
                <a:gd name="T112" fmla="*/ 957 w 1130"/>
                <a:gd name="T113" fmla="*/ 121 h 642"/>
                <a:gd name="T114" fmla="*/ 983 w 1130"/>
                <a:gd name="T115" fmla="*/ 116 h 642"/>
                <a:gd name="T116" fmla="*/ 987 w 1130"/>
                <a:gd name="T117" fmla="*/ 241 h 642"/>
                <a:gd name="T118" fmla="*/ 973 w 1130"/>
                <a:gd name="T119" fmla="*/ 396 h 642"/>
                <a:gd name="T120" fmla="*/ 1070 w 1130"/>
                <a:gd name="T121" fmla="*/ 542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0" h="642">
                  <a:moveTo>
                    <a:pt x="1130" y="640"/>
                  </a:moveTo>
                  <a:lnTo>
                    <a:pt x="1130" y="640"/>
                  </a:lnTo>
                  <a:lnTo>
                    <a:pt x="1123" y="639"/>
                  </a:lnTo>
                  <a:lnTo>
                    <a:pt x="1115" y="637"/>
                  </a:lnTo>
                  <a:lnTo>
                    <a:pt x="1106" y="633"/>
                  </a:lnTo>
                  <a:lnTo>
                    <a:pt x="1106" y="633"/>
                  </a:lnTo>
                  <a:lnTo>
                    <a:pt x="1099" y="634"/>
                  </a:lnTo>
                  <a:lnTo>
                    <a:pt x="1099" y="634"/>
                  </a:lnTo>
                  <a:lnTo>
                    <a:pt x="1092" y="633"/>
                  </a:lnTo>
                  <a:lnTo>
                    <a:pt x="1087" y="630"/>
                  </a:lnTo>
                  <a:lnTo>
                    <a:pt x="1087" y="630"/>
                  </a:lnTo>
                  <a:lnTo>
                    <a:pt x="1078" y="617"/>
                  </a:lnTo>
                  <a:lnTo>
                    <a:pt x="1078" y="617"/>
                  </a:lnTo>
                  <a:lnTo>
                    <a:pt x="1073" y="617"/>
                  </a:lnTo>
                  <a:lnTo>
                    <a:pt x="1069" y="617"/>
                  </a:lnTo>
                  <a:lnTo>
                    <a:pt x="1069" y="617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6" y="609"/>
                  </a:lnTo>
                  <a:lnTo>
                    <a:pt x="1066" y="609"/>
                  </a:lnTo>
                  <a:lnTo>
                    <a:pt x="1064" y="609"/>
                  </a:lnTo>
                  <a:lnTo>
                    <a:pt x="1061" y="611"/>
                  </a:lnTo>
                  <a:lnTo>
                    <a:pt x="1058" y="612"/>
                  </a:lnTo>
                  <a:lnTo>
                    <a:pt x="1058" y="612"/>
                  </a:lnTo>
                  <a:lnTo>
                    <a:pt x="1053" y="608"/>
                  </a:lnTo>
                  <a:lnTo>
                    <a:pt x="1049" y="603"/>
                  </a:lnTo>
                  <a:lnTo>
                    <a:pt x="1049" y="603"/>
                  </a:lnTo>
                  <a:lnTo>
                    <a:pt x="1052" y="599"/>
                  </a:lnTo>
                  <a:lnTo>
                    <a:pt x="1054" y="596"/>
                  </a:lnTo>
                  <a:lnTo>
                    <a:pt x="1054" y="586"/>
                  </a:lnTo>
                  <a:lnTo>
                    <a:pt x="1054" y="578"/>
                  </a:lnTo>
                  <a:lnTo>
                    <a:pt x="1051" y="576"/>
                  </a:lnTo>
                  <a:lnTo>
                    <a:pt x="1051" y="576"/>
                  </a:lnTo>
                  <a:lnTo>
                    <a:pt x="1045" y="576"/>
                  </a:lnTo>
                  <a:lnTo>
                    <a:pt x="1035" y="576"/>
                  </a:lnTo>
                  <a:lnTo>
                    <a:pt x="1035" y="576"/>
                  </a:lnTo>
                  <a:lnTo>
                    <a:pt x="1031" y="573"/>
                  </a:lnTo>
                  <a:lnTo>
                    <a:pt x="1029" y="570"/>
                  </a:lnTo>
                  <a:lnTo>
                    <a:pt x="1023" y="569"/>
                  </a:lnTo>
                  <a:lnTo>
                    <a:pt x="1014" y="550"/>
                  </a:lnTo>
                  <a:lnTo>
                    <a:pt x="979" y="573"/>
                  </a:lnTo>
                  <a:lnTo>
                    <a:pt x="979" y="573"/>
                  </a:lnTo>
                  <a:lnTo>
                    <a:pt x="961" y="569"/>
                  </a:lnTo>
                  <a:lnTo>
                    <a:pt x="944" y="567"/>
                  </a:lnTo>
                  <a:lnTo>
                    <a:pt x="924" y="565"/>
                  </a:lnTo>
                  <a:lnTo>
                    <a:pt x="924" y="565"/>
                  </a:lnTo>
                  <a:lnTo>
                    <a:pt x="908" y="569"/>
                  </a:lnTo>
                  <a:lnTo>
                    <a:pt x="896" y="570"/>
                  </a:lnTo>
                  <a:lnTo>
                    <a:pt x="880" y="570"/>
                  </a:lnTo>
                  <a:lnTo>
                    <a:pt x="880" y="570"/>
                  </a:lnTo>
                  <a:lnTo>
                    <a:pt x="863" y="573"/>
                  </a:lnTo>
                  <a:lnTo>
                    <a:pt x="847" y="574"/>
                  </a:lnTo>
                  <a:lnTo>
                    <a:pt x="847" y="574"/>
                  </a:lnTo>
                  <a:lnTo>
                    <a:pt x="835" y="572"/>
                  </a:lnTo>
                  <a:lnTo>
                    <a:pt x="826" y="570"/>
                  </a:lnTo>
                  <a:lnTo>
                    <a:pt x="826" y="570"/>
                  </a:lnTo>
                  <a:lnTo>
                    <a:pt x="821" y="570"/>
                  </a:lnTo>
                  <a:lnTo>
                    <a:pt x="815" y="570"/>
                  </a:lnTo>
                  <a:lnTo>
                    <a:pt x="808" y="569"/>
                  </a:lnTo>
                  <a:lnTo>
                    <a:pt x="808" y="569"/>
                  </a:lnTo>
                  <a:lnTo>
                    <a:pt x="808" y="570"/>
                  </a:lnTo>
                  <a:lnTo>
                    <a:pt x="807" y="576"/>
                  </a:lnTo>
                  <a:lnTo>
                    <a:pt x="802" y="582"/>
                  </a:lnTo>
                  <a:lnTo>
                    <a:pt x="799" y="586"/>
                  </a:lnTo>
                  <a:lnTo>
                    <a:pt x="794" y="590"/>
                  </a:lnTo>
                  <a:lnTo>
                    <a:pt x="794" y="590"/>
                  </a:lnTo>
                  <a:lnTo>
                    <a:pt x="776" y="600"/>
                  </a:lnTo>
                  <a:lnTo>
                    <a:pt x="763" y="607"/>
                  </a:lnTo>
                  <a:lnTo>
                    <a:pt x="763" y="607"/>
                  </a:lnTo>
                  <a:lnTo>
                    <a:pt x="763" y="609"/>
                  </a:lnTo>
                  <a:lnTo>
                    <a:pt x="764" y="613"/>
                  </a:lnTo>
                  <a:lnTo>
                    <a:pt x="764" y="613"/>
                  </a:lnTo>
                  <a:lnTo>
                    <a:pt x="769" y="613"/>
                  </a:lnTo>
                  <a:lnTo>
                    <a:pt x="772" y="616"/>
                  </a:lnTo>
                  <a:lnTo>
                    <a:pt x="772" y="618"/>
                  </a:lnTo>
                  <a:lnTo>
                    <a:pt x="773" y="621"/>
                  </a:lnTo>
                  <a:lnTo>
                    <a:pt x="773" y="621"/>
                  </a:lnTo>
                  <a:lnTo>
                    <a:pt x="771" y="624"/>
                  </a:lnTo>
                  <a:lnTo>
                    <a:pt x="768" y="626"/>
                  </a:lnTo>
                  <a:lnTo>
                    <a:pt x="764" y="627"/>
                  </a:lnTo>
                  <a:lnTo>
                    <a:pt x="741" y="634"/>
                  </a:lnTo>
                  <a:lnTo>
                    <a:pt x="714" y="638"/>
                  </a:lnTo>
                  <a:lnTo>
                    <a:pt x="685" y="633"/>
                  </a:lnTo>
                  <a:lnTo>
                    <a:pt x="679" y="642"/>
                  </a:lnTo>
                  <a:lnTo>
                    <a:pt x="653" y="638"/>
                  </a:lnTo>
                  <a:lnTo>
                    <a:pt x="654" y="637"/>
                  </a:lnTo>
                  <a:lnTo>
                    <a:pt x="654" y="637"/>
                  </a:lnTo>
                  <a:lnTo>
                    <a:pt x="654" y="633"/>
                  </a:lnTo>
                  <a:lnTo>
                    <a:pt x="655" y="629"/>
                  </a:lnTo>
                  <a:lnTo>
                    <a:pt x="655" y="624"/>
                  </a:lnTo>
                  <a:lnTo>
                    <a:pt x="655" y="624"/>
                  </a:lnTo>
                  <a:lnTo>
                    <a:pt x="657" y="622"/>
                  </a:lnTo>
                  <a:lnTo>
                    <a:pt x="658" y="624"/>
                  </a:lnTo>
                  <a:lnTo>
                    <a:pt x="661" y="624"/>
                  </a:lnTo>
                  <a:lnTo>
                    <a:pt x="664" y="622"/>
                  </a:lnTo>
                  <a:lnTo>
                    <a:pt x="664" y="622"/>
                  </a:lnTo>
                  <a:lnTo>
                    <a:pt x="666" y="617"/>
                  </a:lnTo>
                  <a:lnTo>
                    <a:pt x="666" y="615"/>
                  </a:lnTo>
                  <a:lnTo>
                    <a:pt x="666" y="615"/>
                  </a:lnTo>
                  <a:lnTo>
                    <a:pt x="671" y="608"/>
                  </a:lnTo>
                  <a:lnTo>
                    <a:pt x="684" y="600"/>
                  </a:lnTo>
                  <a:lnTo>
                    <a:pt x="684" y="600"/>
                  </a:lnTo>
                  <a:lnTo>
                    <a:pt x="689" y="577"/>
                  </a:lnTo>
                  <a:lnTo>
                    <a:pt x="694" y="563"/>
                  </a:lnTo>
                  <a:lnTo>
                    <a:pt x="705" y="538"/>
                  </a:lnTo>
                  <a:lnTo>
                    <a:pt x="705" y="538"/>
                  </a:lnTo>
                  <a:lnTo>
                    <a:pt x="703" y="529"/>
                  </a:lnTo>
                  <a:lnTo>
                    <a:pt x="703" y="523"/>
                  </a:lnTo>
                  <a:lnTo>
                    <a:pt x="703" y="523"/>
                  </a:lnTo>
                  <a:lnTo>
                    <a:pt x="701" y="519"/>
                  </a:lnTo>
                  <a:lnTo>
                    <a:pt x="698" y="515"/>
                  </a:lnTo>
                  <a:lnTo>
                    <a:pt x="692" y="510"/>
                  </a:lnTo>
                  <a:lnTo>
                    <a:pt x="692" y="510"/>
                  </a:lnTo>
                  <a:lnTo>
                    <a:pt x="692" y="507"/>
                  </a:lnTo>
                  <a:lnTo>
                    <a:pt x="690" y="504"/>
                  </a:lnTo>
                  <a:lnTo>
                    <a:pt x="688" y="502"/>
                  </a:lnTo>
                  <a:lnTo>
                    <a:pt x="688" y="502"/>
                  </a:lnTo>
                  <a:lnTo>
                    <a:pt x="689" y="498"/>
                  </a:lnTo>
                  <a:lnTo>
                    <a:pt x="692" y="494"/>
                  </a:lnTo>
                  <a:lnTo>
                    <a:pt x="693" y="490"/>
                  </a:lnTo>
                  <a:lnTo>
                    <a:pt x="696" y="488"/>
                  </a:lnTo>
                  <a:lnTo>
                    <a:pt x="696" y="488"/>
                  </a:lnTo>
                  <a:lnTo>
                    <a:pt x="699" y="491"/>
                  </a:lnTo>
                  <a:lnTo>
                    <a:pt x="703" y="493"/>
                  </a:lnTo>
                  <a:lnTo>
                    <a:pt x="707" y="493"/>
                  </a:lnTo>
                  <a:lnTo>
                    <a:pt x="707" y="493"/>
                  </a:lnTo>
                  <a:lnTo>
                    <a:pt x="707" y="490"/>
                  </a:lnTo>
                  <a:lnTo>
                    <a:pt x="705" y="488"/>
                  </a:lnTo>
                  <a:lnTo>
                    <a:pt x="703" y="485"/>
                  </a:lnTo>
                  <a:lnTo>
                    <a:pt x="703" y="480"/>
                  </a:lnTo>
                  <a:lnTo>
                    <a:pt x="703" y="480"/>
                  </a:lnTo>
                  <a:lnTo>
                    <a:pt x="706" y="478"/>
                  </a:lnTo>
                  <a:lnTo>
                    <a:pt x="707" y="478"/>
                  </a:lnTo>
                  <a:lnTo>
                    <a:pt x="707" y="478"/>
                  </a:lnTo>
                  <a:lnTo>
                    <a:pt x="707" y="480"/>
                  </a:lnTo>
                  <a:lnTo>
                    <a:pt x="710" y="481"/>
                  </a:lnTo>
                  <a:lnTo>
                    <a:pt x="710" y="481"/>
                  </a:lnTo>
                  <a:lnTo>
                    <a:pt x="712" y="478"/>
                  </a:lnTo>
                  <a:lnTo>
                    <a:pt x="714" y="476"/>
                  </a:lnTo>
                  <a:lnTo>
                    <a:pt x="714" y="475"/>
                  </a:lnTo>
                  <a:lnTo>
                    <a:pt x="714" y="475"/>
                  </a:lnTo>
                  <a:lnTo>
                    <a:pt x="710" y="475"/>
                  </a:lnTo>
                  <a:lnTo>
                    <a:pt x="707" y="473"/>
                  </a:lnTo>
                  <a:lnTo>
                    <a:pt x="707" y="473"/>
                  </a:lnTo>
                  <a:lnTo>
                    <a:pt x="705" y="471"/>
                  </a:lnTo>
                  <a:lnTo>
                    <a:pt x="702" y="469"/>
                  </a:lnTo>
                  <a:lnTo>
                    <a:pt x="699" y="467"/>
                  </a:lnTo>
                  <a:lnTo>
                    <a:pt x="698" y="464"/>
                  </a:lnTo>
                  <a:lnTo>
                    <a:pt x="698" y="464"/>
                  </a:lnTo>
                  <a:lnTo>
                    <a:pt x="699" y="464"/>
                  </a:lnTo>
                  <a:lnTo>
                    <a:pt x="699" y="464"/>
                  </a:lnTo>
                  <a:lnTo>
                    <a:pt x="701" y="462"/>
                  </a:lnTo>
                  <a:lnTo>
                    <a:pt x="701" y="456"/>
                  </a:lnTo>
                  <a:lnTo>
                    <a:pt x="701" y="456"/>
                  </a:lnTo>
                  <a:lnTo>
                    <a:pt x="707" y="449"/>
                  </a:lnTo>
                  <a:lnTo>
                    <a:pt x="710" y="446"/>
                  </a:lnTo>
                  <a:lnTo>
                    <a:pt x="710" y="442"/>
                  </a:lnTo>
                  <a:lnTo>
                    <a:pt x="710" y="442"/>
                  </a:lnTo>
                  <a:lnTo>
                    <a:pt x="707" y="440"/>
                  </a:lnTo>
                  <a:lnTo>
                    <a:pt x="705" y="437"/>
                  </a:lnTo>
                  <a:lnTo>
                    <a:pt x="705" y="437"/>
                  </a:lnTo>
                  <a:lnTo>
                    <a:pt x="702" y="437"/>
                  </a:lnTo>
                  <a:lnTo>
                    <a:pt x="699" y="438"/>
                  </a:lnTo>
                  <a:lnTo>
                    <a:pt x="698" y="438"/>
                  </a:lnTo>
                  <a:lnTo>
                    <a:pt x="694" y="438"/>
                  </a:lnTo>
                  <a:lnTo>
                    <a:pt x="694" y="438"/>
                  </a:lnTo>
                  <a:lnTo>
                    <a:pt x="693" y="436"/>
                  </a:lnTo>
                  <a:lnTo>
                    <a:pt x="693" y="433"/>
                  </a:lnTo>
                  <a:lnTo>
                    <a:pt x="693" y="428"/>
                  </a:lnTo>
                  <a:lnTo>
                    <a:pt x="693" y="428"/>
                  </a:lnTo>
                  <a:lnTo>
                    <a:pt x="689" y="428"/>
                  </a:lnTo>
                  <a:lnTo>
                    <a:pt x="684" y="428"/>
                  </a:lnTo>
                  <a:lnTo>
                    <a:pt x="684" y="428"/>
                  </a:lnTo>
                  <a:lnTo>
                    <a:pt x="683" y="425"/>
                  </a:lnTo>
                  <a:lnTo>
                    <a:pt x="683" y="423"/>
                  </a:lnTo>
                  <a:lnTo>
                    <a:pt x="683" y="423"/>
                  </a:lnTo>
                  <a:lnTo>
                    <a:pt x="680" y="425"/>
                  </a:lnTo>
                  <a:lnTo>
                    <a:pt x="677" y="432"/>
                  </a:lnTo>
                  <a:lnTo>
                    <a:pt x="677" y="432"/>
                  </a:lnTo>
                  <a:lnTo>
                    <a:pt x="673" y="432"/>
                  </a:lnTo>
                  <a:lnTo>
                    <a:pt x="670" y="432"/>
                  </a:lnTo>
                  <a:lnTo>
                    <a:pt x="670" y="432"/>
                  </a:lnTo>
                  <a:lnTo>
                    <a:pt x="667" y="431"/>
                  </a:lnTo>
                  <a:lnTo>
                    <a:pt x="666" y="429"/>
                  </a:lnTo>
                  <a:lnTo>
                    <a:pt x="664" y="425"/>
                  </a:lnTo>
                  <a:lnTo>
                    <a:pt x="661" y="423"/>
                  </a:lnTo>
                  <a:lnTo>
                    <a:pt x="661" y="423"/>
                  </a:lnTo>
                  <a:lnTo>
                    <a:pt x="662" y="421"/>
                  </a:lnTo>
                  <a:lnTo>
                    <a:pt x="663" y="420"/>
                  </a:lnTo>
                  <a:lnTo>
                    <a:pt x="667" y="420"/>
                  </a:lnTo>
                  <a:lnTo>
                    <a:pt x="670" y="418"/>
                  </a:lnTo>
                  <a:lnTo>
                    <a:pt x="670" y="418"/>
                  </a:lnTo>
                  <a:lnTo>
                    <a:pt x="670" y="416"/>
                  </a:lnTo>
                  <a:lnTo>
                    <a:pt x="670" y="415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2" y="418"/>
                  </a:lnTo>
                  <a:lnTo>
                    <a:pt x="659" y="419"/>
                  </a:lnTo>
                  <a:lnTo>
                    <a:pt x="659" y="419"/>
                  </a:lnTo>
                  <a:lnTo>
                    <a:pt x="658" y="418"/>
                  </a:lnTo>
                  <a:lnTo>
                    <a:pt x="658" y="415"/>
                  </a:lnTo>
                  <a:lnTo>
                    <a:pt x="658" y="410"/>
                  </a:lnTo>
                  <a:lnTo>
                    <a:pt x="658" y="410"/>
                  </a:lnTo>
                  <a:lnTo>
                    <a:pt x="657" y="411"/>
                  </a:lnTo>
                  <a:lnTo>
                    <a:pt x="655" y="412"/>
                  </a:lnTo>
                  <a:lnTo>
                    <a:pt x="653" y="412"/>
                  </a:lnTo>
                  <a:lnTo>
                    <a:pt x="653" y="412"/>
                  </a:lnTo>
                  <a:lnTo>
                    <a:pt x="650" y="412"/>
                  </a:lnTo>
                  <a:lnTo>
                    <a:pt x="649" y="411"/>
                  </a:lnTo>
                  <a:lnTo>
                    <a:pt x="648" y="410"/>
                  </a:lnTo>
                  <a:lnTo>
                    <a:pt x="648" y="407"/>
                  </a:lnTo>
                  <a:lnTo>
                    <a:pt x="648" y="407"/>
                  </a:lnTo>
                  <a:lnTo>
                    <a:pt x="640" y="412"/>
                  </a:lnTo>
                  <a:lnTo>
                    <a:pt x="637" y="414"/>
                  </a:lnTo>
                  <a:lnTo>
                    <a:pt x="635" y="418"/>
                  </a:lnTo>
                  <a:lnTo>
                    <a:pt x="635" y="418"/>
                  </a:lnTo>
                  <a:lnTo>
                    <a:pt x="628" y="418"/>
                  </a:lnTo>
                  <a:lnTo>
                    <a:pt x="628" y="418"/>
                  </a:lnTo>
                  <a:lnTo>
                    <a:pt x="624" y="414"/>
                  </a:lnTo>
                  <a:lnTo>
                    <a:pt x="623" y="411"/>
                  </a:lnTo>
                  <a:lnTo>
                    <a:pt x="622" y="411"/>
                  </a:lnTo>
                  <a:lnTo>
                    <a:pt x="622" y="411"/>
                  </a:lnTo>
                  <a:lnTo>
                    <a:pt x="619" y="416"/>
                  </a:lnTo>
                  <a:lnTo>
                    <a:pt x="616" y="420"/>
                  </a:lnTo>
                  <a:lnTo>
                    <a:pt x="616" y="420"/>
                  </a:lnTo>
                  <a:lnTo>
                    <a:pt x="616" y="425"/>
                  </a:lnTo>
                  <a:lnTo>
                    <a:pt x="615" y="429"/>
                  </a:lnTo>
                  <a:lnTo>
                    <a:pt x="614" y="432"/>
                  </a:lnTo>
                  <a:lnTo>
                    <a:pt x="613" y="434"/>
                  </a:lnTo>
                  <a:lnTo>
                    <a:pt x="610" y="436"/>
                  </a:lnTo>
                  <a:lnTo>
                    <a:pt x="607" y="436"/>
                  </a:lnTo>
                  <a:lnTo>
                    <a:pt x="607" y="436"/>
                  </a:lnTo>
                  <a:lnTo>
                    <a:pt x="604" y="434"/>
                  </a:lnTo>
                  <a:lnTo>
                    <a:pt x="601" y="433"/>
                  </a:lnTo>
                  <a:lnTo>
                    <a:pt x="598" y="429"/>
                  </a:lnTo>
                  <a:lnTo>
                    <a:pt x="598" y="429"/>
                  </a:lnTo>
                  <a:lnTo>
                    <a:pt x="598" y="423"/>
                  </a:lnTo>
                  <a:lnTo>
                    <a:pt x="597" y="419"/>
                  </a:lnTo>
                  <a:lnTo>
                    <a:pt x="593" y="416"/>
                  </a:lnTo>
                  <a:lnTo>
                    <a:pt x="588" y="415"/>
                  </a:lnTo>
                  <a:lnTo>
                    <a:pt x="588" y="415"/>
                  </a:lnTo>
                  <a:lnTo>
                    <a:pt x="583" y="411"/>
                  </a:lnTo>
                  <a:lnTo>
                    <a:pt x="580" y="41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4" y="408"/>
                  </a:lnTo>
                  <a:lnTo>
                    <a:pt x="572" y="408"/>
                  </a:lnTo>
                  <a:lnTo>
                    <a:pt x="570" y="408"/>
                  </a:lnTo>
                  <a:lnTo>
                    <a:pt x="567" y="406"/>
                  </a:lnTo>
                  <a:lnTo>
                    <a:pt x="566" y="403"/>
                  </a:lnTo>
                  <a:lnTo>
                    <a:pt x="566" y="403"/>
                  </a:lnTo>
                  <a:lnTo>
                    <a:pt x="562" y="398"/>
                  </a:lnTo>
                  <a:lnTo>
                    <a:pt x="559" y="398"/>
                  </a:lnTo>
                  <a:lnTo>
                    <a:pt x="558" y="398"/>
                  </a:lnTo>
                  <a:lnTo>
                    <a:pt x="558" y="398"/>
                  </a:lnTo>
                  <a:lnTo>
                    <a:pt x="558" y="399"/>
                  </a:lnTo>
                  <a:lnTo>
                    <a:pt x="559" y="402"/>
                  </a:lnTo>
                  <a:lnTo>
                    <a:pt x="563" y="406"/>
                  </a:lnTo>
                  <a:lnTo>
                    <a:pt x="563" y="406"/>
                  </a:lnTo>
                  <a:lnTo>
                    <a:pt x="566" y="411"/>
                  </a:lnTo>
                  <a:lnTo>
                    <a:pt x="567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8" y="414"/>
                  </a:lnTo>
                  <a:lnTo>
                    <a:pt x="580" y="416"/>
                  </a:lnTo>
                  <a:lnTo>
                    <a:pt x="580" y="416"/>
                  </a:lnTo>
                  <a:lnTo>
                    <a:pt x="580" y="419"/>
                  </a:lnTo>
                  <a:lnTo>
                    <a:pt x="583" y="421"/>
                  </a:lnTo>
                  <a:lnTo>
                    <a:pt x="591" y="424"/>
                  </a:lnTo>
                  <a:lnTo>
                    <a:pt x="591" y="424"/>
                  </a:lnTo>
                  <a:lnTo>
                    <a:pt x="592" y="425"/>
                  </a:lnTo>
                  <a:lnTo>
                    <a:pt x="592" y="427"/>
                  </a:lnTo>
                  <a:lnTo>
                    <a:pt x="592" y="427"/>
                  </a:lnTo>
                  <a:lnTo>
                    <a:pt x="585" y="425"/>
                  </a:lnTo>
                  <a:lnTo>
                    <a:pt x="579" y="423"/>
                  </a:lnTo>
                  <a:lnTo>
                    <a:pt x="579" y="423"/>
                  </a:lnTo>
                  <a:lnTo>
                    <a:pt x="575" y="419"/>
                  </a:lnTo>
                  <a:lnTo>
                    <a:pt x="571" y="418"/>
                  </a:lnTo>
                  <a:lnTo>
                    <a:pt x="567" y="415"/>
                  </a:lnTo>
                  <a:lnTo>
                    <a:pt x="563" y="412"/>
                  </a:lnTo>
                  <a:lnTo>
                    <a:pt x="563" y="412"/>
                  </a:lnTo>
                  <a:lnTo>
                    <a:pt x="556" y="408"/>
                  </a:lnTo>
                  <a:lnTo>
                    <a:pt x="548" y="406"/>
                  </a:lnTo>
                  <a:lnTo>
                    <a:pt x="548" y="406"/>
                  </a:lnTo>
                  <a:lnTo>
                    <a:pt x="545" y="406"/>
                  </a:lnTo>
                  <a:lnTo>
                    <a:pt x="543" y="406"/>
                  </a:lnTo>
                  <a:lnTo>
                    <a:pt x="543" y="406"/>
                  </a:lnTo>
                  <a:lnTo>
                    <a:pt x="539" y="401"/>
                  </a:lnTo>
                  <a:lnTo>
                    <a:pt x="536" y="397"/>
                  </a:lnTo>
                  <a:lnTo>
                    <a:pt x="536" y="397"/>
                  </a:lnTo>
                  <a:lnTo>
                    <a:pt x="535" y="402"/>
                  </a:lnTo>
                  <a:lnTo>
                    <a:pt x="535" y="405"/>
                  </a:lnTo>
                  <a:lnTo>
                    <a:pt x="535" y="405"/>
                  </a:lnTo>
                  <a:lnTo>
                    <a:pt x="537" y="410"/>
                  </a:lnTo>
                  <a:lnTo>
                    <a:pt x="539" y="411"/>
                  </a:lnTo>
                  <a:lnTo>
                    <a:pt x="539" y="412"/>
                  </a:lnTo>
                  <a:lnTo>
                    <a:pt x="539" y="412"/>
                  </a:lnTo>
                  <a:lnTo>
                    <a:pt x="536" y="411"/>
                  </a:lnTo>
                  <a:lnTo>
                    <a:pt x="535" y="410"/>
                  </a:lnTo>
                  <a:lnTo>
                    <a:pt x="531" y="405"/>
                  </a:lnTo>
                  <a:lnTo>
                    <a:pt x="531" y="405"/>
                  </a:lnTo>
                  <a:lnTo>
                    <a:pt x="531" y="394"/>
                  </a:lnTo>
                  <a:lnTo>
                    <a:pt x="530" y="390"/>
                  </a:lnTo>
                  <a:lnTo>
                    <a:pt x="530" y="390"/>
                  </a:lnTo>
                  <a:lnTo>
                    <a:pt x="528" y="388"/>
                  </a:lnTo>
                  <a:lnTo>
                    <a:pt x="526" y="383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80"/>
                  </a:lnTo>
                  <a:lnTo>
                    <a:pt x="518" y="377"/>
                  </a:lnTo>
                  <a:lnTo>
                    <a:pt x="518" y="377"/>
                  </a:lnTo>
                  <a:lnTo>
                    <a:pt x="518" y="375"/>
                  </a:lnTo>
                  <a:lnTo>
                    <a:pt x="521" y="372"/>
                  </a:lnTo>
                  <a:lnTo>
                    <a:pt x="521" y="372"/>
                  </a:lnTo>
                  <a:lnTo>
                    <a:pt x="521" y="368"/>
                  </a:lnTo>
                  <a:lnTo>
                    <a:pt x="518" y="366"/>
                  </a:lnTo>
                  <a:lnTo>
                    <a:pt x="512" y="364"/>
                  </a:lnTo>
                  <a:lnTo>
                    <a:pt x="504" y="363"/>
                  </a:lnTo>
                  <a:lnTo>
                    <a:pt x="504" y="363"/>
                  </a:lnTo>
                  <a:lnTo>
                    <a:pt x="499" y="362"/>
                  </a:lnTo>
                  <a:lnTo>
                    <a:pt x="495" y="359"/>
                  </a:lnTo>
                  <a:lnTo>
                    <a:pt x="488" y="355"/>
                  </a:lnTo>
                  <a:lnTo>
                    <a:pt x="488" y="355"/>
                  </a:lnTo>
                  <a:lnTo>
                    <a:pt x="484" y="357"/>
                  </a:lnTo>
                  <a:lnTo>
                    <a:pt x="480" y="357"/>
                  </a:lnTo>
                  <a:lnTo>
                    <a:pt x="474" y="358"/>
                  </a:lnTo>
                  <a:lnTo>
                    <a:pt x="474" y="358"/>
                  </a:lnTo>
                  <a:lnTo>
                    <a:pt x="470" y="359"/>
                  </a:lnTo>
                  <a:lnTo>
                    <a:pt x="466" y="364"/>
                  </a:lnTo>
                  <a:lnTo>
                    <a:pt x="460" y="370"/>
                  </a:lnTo>
                  <a:lnTo>
                    <a:pt x="460" y="370"/>
                  </a:lnTo>
                  <a:lnTo>
                    <a:pt x="453" y="370"/>
                  </a:lnTo>
                  <a:lnTo>
                    <a:pt x="451" y="368"/>
                  </a:lnTo>
                  <a:lnTo>
                    <a:pt x="448" y="366"/>
                  </a:lnTo>
                  <a:lnTo>
                    <a:pt x="445" y="364"/>
                  </a:lnTo>
                  <a:lnTo>
                    <a:pt x="445" y="364"/>
                  </a:lnTo>
                  <a:lnTo>
                    <a:pt x="442" y="362"/>
                  </a:lnTo>
                  <a:lnTo>
                    <a:pt x="439" y="361"/>
                  </a:lnTo>
                  <a:lnTo>
                    <a:pt x="435" y="359"/>
                  </a:lnTo>
                  <a:lnTo>
                    <a:pt x="435" y="359"/>
                  </a:lnTo>
                  <a:lnTo>
                    <a:pt x="425" y="363"/>
                  </a:lnTo>
                  <a:lnTo>
                    <a:pt x="421" y="363"/>
                  </a:lnTo>
                  <a:lnTo>
                    <a:pt x="421" y="363"/>
                  </a:lnTo>
                  <a:lnTo>
                    <a:pt x="418" y="366"/>
                  </a:lnTo>
                  <a:lnTo>
                    <a:pt x="416" y="370"/>
                  </a:lnTo>
                  <a:lnTo>
                    <a:pt x="412" y="375"/>
                  </a:lnTo>
                  <a:lnTo>
                    <a:pt x="409" y="376"/>
                  </a:lnTo>
                  <a:lnTo>
                    <a:pt x="408" y="376"/>
                  </a:lnTo>
                  <a:lnTo>
                    <a:pt x="408" y="376"/>
                  </a:lnTo>
                  <a:lnTo>
                    <a:pt x="407" y="375"/>
                  </a:lnTo>
                  <a:lnTo>
                    <a:pt x="408" y="374"/>
                  </a:lnTo>
                  <a:lnTo>
                    <a:pt x="409" y="372"/>
                  </a:lnTo>
                  <a:lnTo>
                    <a:pt x="409" y="371"/>
                  </a:lnTo>
                  <a:lnTo>
                    <a:pt x="409" y="371"/>
                  </a:lnTo>
                  <a:lnTo>
                    <a:pt x="409" y="367"/>
                  </a:lnTo>
                  <a:lnTo>
                    <a:pt x="409" y="366"/>
                  </a:lnTo>
                  <a:lnTo>
                    <a:pt x="407" y="366"/>
                  </a:lnTo>
                  <a:lnTo>
                    <a:pt x="407" y="366"/>
                  </a:lnTo>
                  <a:lnTo>
                    <a:pt x="401" y="367"/>
                  </a:lnTo>
                  <a:lnTo>
                    <a:pt x="394" y="372"/>
                  </a:lnTo>
                  <a:lnTo>
                    <a:pt x="394" y="372"/>
                  </a:lnTo>
                  <a:lnTo>
                    <a:pt x="392" y="377"/>
                  </a:lnTo>
                  <a:lnTo>
                    <a:pt x="390" y="381"/>
                  </a:lnTo>
                  <a:lnTo>
                    <a:pt x="388" y="384"/>
                  </a:lnTo>
                  <a:lnTo>
                    <a:pt x="387" y="384"/>
                  </a:lnTo>
                  <a:lnTo>
                    <a:pt x="387" y="384"/>
                  </a:lnTo>
                  <a:lnTo>
                    <a:pt x="386" y="381"/>
                  </a:lnTo>
                  <a:lnTo>
                    <a:pt x="386" y="379"/>
                  </a:lnTo>
                  <a:lnTo>
                    <a:pt x="385" y="379"/>
                  </a:lnTo>
                  <a:lnTo>
                    <a:pt x="385" y="379"/>
                  </a:lnTo>
                  <a:lnTo>
                    <a:pt x="381" y="380"/>
                  </a:lnTo>
                  <a:lnTo>
                    <a:pt x="379" y="380"/>
                  </a:lnTo>
                  <a:lnTo>
                    <a:pt x="379" y="380"/>
                  </a:lnTo>
                  <a:lnTo>
                    <a:pt x="379" y="379"/>
                  </a:lnTo>
                  <a:lnTo>
                    <a:pt x="379" y="376"/>
                  </a:lnTo>
                  <a:lnTo>
                    <a:pt x="379" y="371"/>
                  </a:lnTo>
                  <a:lnTo>
                    <a:pt x="379" y="371"/>
                  </a:lnTo>
                  <a:lnTo>
                    <a:pt x="378" y="368"/>
                  </a:lnTo>
                  <a:lnTo>
                    <a:pt x="375" y="367"/>
                  </a:lnTo>
                  <a:lnTo>
                    <a:pt x="375" y="367"/>
                  </a:lnTo>
                  <a:lnTo>
                    <a:pt x="373" y="371"/>
                  </a:lnTo>
                  <a:lnTo>
                    <a:pt x="372" y="375"/>
                  </a:lnTo>
                  <a:lnTo>
                    <a:pt x="369" y="376"/>
                  </a:lnTo>
                  <a:lnTo>
                    <a:pt x="369" y="376"/>
                  </a:lnTo>
                  <a:lnTo>
                    <a:pt x="366" y="376"/>
                  </a:lnTo>
                  <a:lnTo>
                    <a:pt x="366" y="379"/>
                  </a:lnTo>
                  <a:lnTo>
                    <a:pt x="365" y="380"/>
                  </a:lnTo>
                  <a:lnTo>
                    <a:pt x="364" y="381"/>
                  </a:lnTo>
                  <a:lnTo>
                    <a:pt x="364" y="381"/>
                  </a:lnTo>
                  <a:lnTo>
                    <a:pt x="362" y="381"/>
                  </a:lnTo>
                  <a:lnTo>
                    <a:pt x="362" y="380"/>
                  </a:lnTo>
                  <a:lnTo>
                    <a:pt x="362" y="377"/>
                  </a:lnTo>
                  <a:lnTo>
                    <a:pt x="362" y="372"/>
                  </a:lnTo>
                  <a:lnTo>
                    <a:pt x="362" y="372"/>
                  </a:lnTo>
                  <a:lnTo>
                    <a:pt x="359" y="375"/>
                  </a:lnTo>
                  <a:lnTo>
                    <a:pt x="355" y="377"/>
                  </a:lnTo>
                  <a:lnTo>
                    <a:pt x="348" y="385"/>
                  </a:lnTo>
                  <a:lnTo>
                    <a:pt x="340" y="396"/>
                  </a:lnTo>
                  <a:lnTo>
                    <a:pt x="340" y="396"/>
                  </a:lnTo>
                  <a:lnTo>
                    <a:pt x="340" y="393"/>
                  </a:lnTo>
                  <a:lnTo>
                    <a:pt x="342" y="389"/>
                  </a:lnTo>
                  <a:lnTo>
                    <a:pt x="342" y="384"/>
                  </a:lnTo>
                  <a:lnTo>
                    <a:pt x="342" y="381"/>
                  </a:lnTo>
                  <a:lnTo>
                    <a:pt x="342" y="381"/>
                  </a:lnTo>
                  <a:lnTo>
                    <a:pt x="339" y="381"/>
                  </a:lnTo>
                  <a:lnTo>
                    <a:pt x="335" y="385"/>
                  </a:lnTo>
                  <a:lnTo>
                    <a:pt x="330" y="389"/>
                  </a:lnTo>
                  <a:lnTo>
                    <a:pt x="324" y="394"/>
                  </a:lnTo>
                  <a:lnTo>
                    <a:pt x="324" y="394"/>
                  </a:lnTo>
                  <a:lnTo>
                    <a:pt x="315" y="401"/>
                  </a:lnTo>
                  <a:lnTo>
                    <a:pt x="311" y="405"/>
                  </a:lnTo>
                  <a:lnTo>
                    <a:pt x="311" y="405"/>
                  </a:lnTo>
                  <a:lnTo>
                    <a:pt x="305" y="403"/>
                  </a:lnTo>
                  <a:lnTo>
                    <a:pt x="303" y="402"/>
                  </a:lnTo>
                  <a:lnTo>
                    <a:pt x="303" y="402"/>
                  </a:lnTo>
                  <a:lnTo>
                    <a:pt x="296" y="406"/>
                  </a:lnTo>
                  <a:lnTo>
                    <a:pt x="293" y="410"/>
                  </a:lnTo>
                  <a:lnTo>
                    <a:pt x="291" y="414"/>
                  </a:lnTo>
                  <a:lnTo>
                    <a:pt x="291" y="418"/>
                  </a:lnTo>
                  <a:lnTo>
                    <a:pt x="291" y="418"/>
                  </a:lnTo>
                  <a:lnTo>
                    <a:pt x="290" y="419"/>
                  </a:lnTo>
                  <a:lnTo>
                    <a:pt x="287" y="420"/>
                  </a:lnTo>
                  <a:lnTo>
                    <a:pt x="285" y="420"/>
                  </a:lnTo>
                  <a:lnTo>
                    <a:pt x="283" y="421"/>
                  </a:lnTo>
                  <a:lnTo>
                    <a:pt x="283" y="421"/>
                  </a:lnTo>
                  <a:lnTo>
                    <a:pt x="286" y="424"/>
                  </a:lnTo>
                  <a:lnTo>
                    <a:pt x="287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5"/>
                  </a:lnTo>
                  <a:lnTo>
                    <a:pt x="289" y="428"/>
                  </a:lnTo>
                  <a:lnTo>
                    <a:pt x="289" y="429"/>
                  </a:lnTo>
                  <a:lnTo>
                    <a:pt x="286" y="432"/>
                  </a:lnTo>
                  <a:lnTo>
                    <a:pt x="286" y="432"/>
                  </a:lnTo>
                  <a:lnTo>
                    <a:pt x="283" y="432"/>
                  </a:lnTo>
                  <a:lnTo>
                    <a:pt x="282" y="431"/>
                  </a:lnTo>
                  <a:lnTo>
                    <a:pt x="281" y="429"/>
                  </a:lnTo>
                  <a:lnTo>
                    <a:pt x="280" y="429"/>
                  </a:lnTo>
                  <a:lnTo>
                    <a:pt x="280" y="429"/>
                  </a:lnTo>
                  <a:lnTo>
                    <a:pt x="278" y="432"/>
                  </a:lnTo>
                  <a:lnTo>
                    <a:pt x="278" y="434"/>
                  </a:lnTo>
                  <a:lnTo>
                    <a:pt x="277" y="437"/>
                  </a:lnTo>
                  <a:lnTo>
                    <a:pt x="276" y="438"/>
                  </a:lnTo>
                  <a:lnTo>
                    <a:pt x="276" y="438"/>
                  </a:lnTo>
                  <a:lnTo>
                    <a:pt x="272" y="437"/>
                  </a:lnTo>
                  <a:lnTo>
                    <a:pt x="268" y="433"/>
                  </a:lnTo>
                  <a:lnTo>
                    <a:pt x="265" y="432"/>
                  </a:lnTo>
                  <a:lnTo>
                    <a:pt x="263" y="433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1" y="437"/>
                  </a:lnTo>
                  <a:lnTo>
                    <a:pt x="263" y="438"/>
                  </a:lnTo>
                  <a:lnTo>
                    <a:pt x="265" y="440"/>
                  </a:lnTo>
                  <a:lnTo>
                    <a:pt x="268" y="441"/>
                  </a:lnTo>
                  <a:lnTo>
                    <a:pt x="269" y="442"/>
                  </a:lnTo>
                  <a:lnTo>
                    <a:pt x="272" y="445"/>
                  </a:lnTo>
                  <a:lnTo>
                    <a:pt x="272" y="445"/>
                  </a:lnTo>
                  <a:lnTo>
                    <a:pt x="276" y="446"/>
                  </a:lnTo>
                  <a:lnTo>
                    <a:pt x="276" y="446"/>
                  </a:lnTo>
                  <a:lnTo>
                    <a:pt x="277" y="451"/>
                  </a:lnTo>
                  <a:lnTo>
                    <a:pt x="276" y="456"/>
                  </a:lnTo>
                  <a:lnTo>
                    <a:pt x="273" y="462"/>
                  </a:lnTo>
                  <a:lnTo>
                    <a:pt x="273" y="462"/>
                  </a:lnTo>
                  <a:lnTo>
                    <a:pt x="269" y="469"/>
                  </a:lnTo>
                  <a:lnTo>
                    <a:pt x="268" y="472"/>
                  </a:lnTo>
                  <a:lnTo>
                    <a:pt x="265" y="473"/>
                  </a:lnTo>
                  <a:lnTo>
                    <a:pt x="265" y="473"/>
                  </a:lnTo>
                  <a:lnTo>
                    <a:pt x="264" y="468"/>
                  </a:lnTo>
                  <a:lnTo>
                    <a:pt x="263" y="462"/>
                  </a:lnTo>
                  <a:lnTo>
                    <a:pt x="261" y="453"/>
                  </a:lnTo>
                  <a:lnTo>
                    <a:pt x="261" y="453"/>
                  </a:lnTo>
                  <a:lnTo>
                    <a:pt x="254" y="449"/>
                  </a:lnTo>
                  <a:lnTo>
                    <a:pt x="251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7"/>
                  </a:lnTo>
                  <a:lnTo>
                    <a:pt x="250" y="450"/>
                  </a:lnTo>
                  <a:lnTo>
                    <a:pt x="251" y="453"/>
                  </a:lnTo>
                  <a:lnTo>
                    <a:pt x="251" y="454"/>
                  </a:lnTo>
                  <a:lnTo>
                    <a:pt x="250" y="454"/>
                  </a:lnTo>
                  <a:lnTo>
                    <a:pt x="250" y="454"/>
                  </a:lnTo>
                  <a:lnTo>
                    <a:pt x="247" y="454"/>
                  </a:lnTo>
                  <a:lnTo>
                    <a:pt x="245" y="453"/>
                  </a:lnTo>
                  <a:lnTo>
                    <a:pt x="239" y="446"/>
                  </a:lnTo>
                  <a:lnTo>
                    <a:pt x="239" y="446"/>
                  </a:lnTo>
                  <a:lnTo>
                    <a:pt x="230" y="437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4" y="427"/>
                  </a:lnTo>
                  <a:lnTo>
                    <a:pt x="224" y="427"/>
                  </a:lnTo>
                  <a:lnTo>
                    <a:pt x="226" y="427"/>
                  </a:lnTo>
                  <a:lnTo>
                    <a:pt x="228" y="425"/>
                  </a:lnTo>
                  <a:lnTo>
                    <a:pt x="228" y="425"/>
                  </a:lnTo>
                  <a:lnTo>
                    <a:pt x="229" y="424"/>
                  </a:lnTo>
                  <a:lnTo>
                    <a:pt x="228" y="421"/>
                  </a:lnTo>
                  <a:lnTo>
                    <a:pt x="225" y="416"/>
                  </a:lnTo>
                  <a:lnTo>
                    <a:pt x="225" y="416"/>
                  </a:lnTo>
                  <a:lnTo>
                    <a:pt x="225" y="414"/>
                  </a:lnTo>
                  <a:lnTo>
                    <a:pt x="224" y="411"/>
                  </a:lnTo>
                  <a:lnTo>
                    <a:pt x="220" y="407"/>
                  </a:lnTo>
                  <a:lnTo>
                    <a:pt x="215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7"/>
                  </a:lnTo>
                  <a:lnTo>
                    <a:pt x="212" y="408"/>
                  </a:lnTo>
                  <a:lnTo>
                    <a:pt x="216" y="411"/>
                  </a:lnTo>
                  <a:lnTo>
                    <a:pt x="216" y="411"/>
                  </a:lnTo>
                  <a:lnTo>
                    <a:pt x="217" y="418"/>
                  </a:lnTo>
                  <a:lnTo>
                    <a:pt x="219" y="423"/>
                  </a:lnTo>
                  <a:lnTo>
                    <a:pt x="219" y="427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6" y="428"/>
                  </a:lnTo>
                  <a:lnTo>
                    <a:pt x="215" y="427"/>
                  </a:lnTo>
                  <a:lnTo>
                    <a:pt x="213" y="423"/>
                  </a:lnTo>
                  <a:lnTo>
                    <a:pt x="213" y="416"/>
                  </a:lnTo>
                  <a:lnTo>
                    <a:pt x="213" y="416"/>
                  </a:lnTo>
                  <a:lnTo>
                    <a:pt x="208" y="410"/>
                  </a:lnTo>
                  <a:lnTo>
                    <a:pt x="203" y="402"/>
                  </a:lnTo>
                  <a:lnTo>
                    <a:pt x="203" y="402"/>
                  </a:lnTo>
                  <a:lnTo>
                    <a:pt x="191" y="398"/>
                  </a:lnTo>
                  <a:lnTo>
                    <a:pt x="186" y="394"/>
                  </a:lnTo>
                  <a:lnTo>
                    <a:pt x="186" y="394"/>
                  </a:lnTo>
                  <a:lnTo>
                    <a:pt x="184" y="396"/>
                  </a:lnTo>
                  <a:lnTo>
                    <a:pt x="185" y="397"/>
                  </a:lnTo>
                  <a:lnTo>
                    <a:pt x="185" y="398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5" y="401"/>
                  </a:lnTo>
                  <a:lnTo>
                    <a:pt x="184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76" y="396"/>
                  </a:lnTo>
                  <a:lnTo>
                    <a:pt x="173" y="396"/>
                  </a:lnTo>
                  <a:lnTo>
                    <a:pt x="173" y="396"/>
                  </a:lnTo>
                  <a:lnTo>
                    <a:pt x="168" y="393"/>
                  </a:lnTo>
                  <a:lnTo>
                    <a:pt x="163" y="392"/>
                  </a:lnTo>
                  <a:lnTo>
                    <a:pt x="156" y="390"/>
                  </a:lnTo>
                  <a:lnTo>
                    <a:pt x="153" y="389"/>
                  </a:lnTo>
                  <a:lnTo>
                    <a:pt x="153" y="389"/>
                  </a:lnTo>
                  <a:lnTo>
                    <a:pt x="150" y="381"/>
                  </a:lnTo>
                  <a:lnTo>
                    <a:pt x="147" y="379"/>
                  </a:lnTo>
                  <a:lnTo>
                    <a:pt x="145" y="375"/>
                  </a:lnTo>
                  <a:lnTo>
                    <a:pt x="145" y="375"/>
                  </a:lnTo>
                  <a:lnTo>
                    <a:pt x="140" y="371"/>
                  </a:lnTo>
                  <a:lnTo>
                    <a:pt x="133" y="370"/>
                  </a:lnTo>
                  <a:lnTo>
                    <a:pt x="124" y="367"/>
                  </a:lnTo>
                  <a:lnTo>
                    <a:pt x="124" y="367"/>
                  </a:lnTo>
                  <a:lnTo>
                    <a:pt x="124" y="363"/>
                  </a:lnTo>
                  <a:lnTo>
                    <a:pt x="127" y="355"/>
                  </a:lnTo>
                  <a:lnTo>
                    <a:pt x="127" y="351"/>
                  </a:lnTo>
                  <a:lnTo>
                    <a:pt x="125" y="348"/>
                  </a:lnTo>
                  <a:lnTo>
                    <a:pt x="123" y="344"/>
                  </a:lnTo>
                  <a:lnTo>
                    <a:pt x="119" y="340"/>
                  </a:lnTo>
                  <a:lnTo>
                    <a:pt x="119" y="340"/>
                  </a:lnTo>
                  <a:lnTo>
                    <a:pt x="120" y="336"/>
                  </a:lnTo>
                  <a:lnTo>
                    <a:pt x="121" y="333"/>
                  </a:lnTo>
                  <a:lnTo>
                    <a:pt x="123" y="331"/>
                  </a:lnTo>
                  <a:lnTo>
                    <a:pt x="125" y="329"/>
                  </a:lnTo>
                  <a:lnTo>
                    <a:pt x="132" y="328"/>
                  </a:lnTo>
                  <a:lnTo>
                    <a:pt x="136" y="328"/>
                  </a:lnTo>
                  <a:lnTo>
                    <a:pt x="136" y="328"/>
                  </a:lnTo>
                  <a:lnTo>
                    <a:pt x="142" y="332"/>
                  </a:lnTo>
                  <a:lnTo>
                    <a:pt x="146" y="335"/>
                  </a:lnTo>
                  <a:lnTo>
                    <a:pt x="147" y="337"/>
                  </a:lnTo>
                  <a:lnTo>
                    <a:pt x="149" y="339"/>
                  </a:lnTo>
                  <a:lnTo>
                    <a:pt x="149" y="339"/>
                  </a:lnTo>
                  <a:lnTo>
                    <a:pt x="147" y="342"/>
                  </a:lnTo>
                  <a:lnTo>
                    <a:pt x="149" y="345"/>
                  </a:lnTo>
                  <a:lnTo>
                    <a:pt x="150" y="348"/>
                  </a:lnTo>
                  <a:lnTo>
                    <a:pt x="153" y="349"/>
                  </a:lnTo>
                  <a:lnTo>
                    <a:pt x="153" y="349"/>
                  </a:lnTo>
                  <a:lnTo>
                    <a:pt x="166" y="350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84" y="348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5" y="328"/>
                  </a:lnTo>
                  <a:lnTo>
                    <a:pt x="177" y="307"/>
                  </a:lnTo>
                  <a:lnTo>
                    <a:pt x="166" y="280"/>
                  </a:lnTo>
                  <a:lnTo>
                    <a:pt x="166" y="280"/>
                  </a:lnTo>
                  <a:lnTo>
                    <a:pt x="158" y="232"/>
                  </a:lnTo>
                  <a:lnTo>
                    <a:pt x="158" y="232"/>
                  </a:lnTo>
                  <a:lnTo>
                    <a:pt x="158" y="223"/>
                  </a:lnTo>
                  <a:lnTo>
                    <a:pt x="156" y="215"/>
                  </a:lnTo>
                  <a:lnTo>
                    <a:pt x="154" y="206"/>
                  </a:lnTo>
                  <a:lnTo>
                    <a:pt x="154" y="206"/>
                  </a:lnTo>
                  <a:lnTo>
                    <a:pt x="151" y="205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75"/>
                  </a:lnTo>
                  <a:lnTo>
                    <a:pt x="136" y="171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2" y="147"/>
                  </a:lnTo>
                  <a:lnTo>
                    <a:pt x="132" y="147"/>
                  </a:lnTo>
                  <a:lnTo>
                    <a:pt x="123" y="135"/>
                  </a:lnTo>
                  <a:lnTo>
                    <a:pt x="118" y="130"/>
                  </a:lnTo>
                  <a:lnTo>
                    <a:pt x="115" y="127"/>
                  </a:lnTo>
                  <a:lnTo>
                    <a:pt x="115" y="127"/>
                  </a:lnTo>
                  <a:lnTo>
                    <a:pt x="108" y="127"/>
                  </a:lnTo>
                  <a:lnTo>
                    <a:pt x="102" y="127"/>
                  </a:lnTo>
                  <a:lnTo>
                    <a:pt x="94" y="126"/>
                  </a:lnTo>
                  <a:lnTo>
                    <a:pt x="90" y="123"/>
                  </a:lnTo>
                  <a:lnTo>
                    <a:pt x="88" y="121"/>
                  </a:lnTo>
                  <a:lnTo>
                    <a:pt x="88" y="121"/>
                  </a:lnTo>
                  <a:lnTo>
                    <a:pt x="80" y="121"/>
                  </a:lnTo>
                  <a:lnTo>
                    <a:pt x="72" y="120"/>
                  </a:lnTo>
                  <a:lnTo>
                    <a:pt x="66" y="118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50" y="105"/>
                  </a:lnTo>
                  <a:lnTo>
                    <a:pt x="44" y="100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6" y="97"/>
                  </a:lnTo>
                  <a:lnTo>
                    <a:pt x="35" y="100"/>
                  </a:lnTo>
                  <a:lnTo>
                    <a:pt x="32" y="108"/>
                  </a:lnTo>
                  <a:lnTo>
                    <a:pt x="28" y="116"/>
                  </a:lnTo>
                  <a:lnTo>
                    <a:pt x="26" y="118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19" y="117"/>
                  </a:lnTo>
                  <a:lnTo>
                    <a:pt x="11" y="108"/>
                  </a:lnTo>
                  <a:lnTo>
                    <a:pt x="4" y="99"/>
                  </a:lnTo>
                  <a:lnTo>
                    <a:pt x="1" y="94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1" y="88"/>
                  </a:lnTo>
                  <a:lnTo>
                    <a:pt x="5" y="87"/>
                  </a:lnTo>
                  <a:lnTo>
                    <a:pt x="7" y="85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7" y="75"/>
                  </a:lnTo>
                  <a:lnTo>
                    <a:pt x="5" y="70"/>
                  </a:lnTo>
                  <a:lnTo>
                    <a:pt x="2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59"/>
                  </a:lnTo>
                  <a:lnTo>
                    <a:pt x="1" y="56"/>
                  </a:lnTo>
                  <a:lnTo>
                    <a:pt x="6" y="52"/>
                  </a:lnTo>
                  <a:lnTo>
                    <a:pt x="11" y="50"/>
                  </a:lnTo>
                  <a:lnTo>
                    <a:pt x="13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6" y="43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1"/>
                  </a:lnTo>
                  <a:lnTo>
                    <a:pt x="14" y="26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8" y="1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4"/>
                  </a:lnTo>
                  <a:lnTo>
                    <a:pt x="23" y="7"/>
                  </a:lnTo>
                  <a:lnTo>
                    <a:pt x="32" y="11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16" y="46"/>
                  </a:lnTo>
                  <a:lnTo>
                    <a:pt x="140" y="56"/>
                  </a:lnTo>
                  <a:lnTo>
                    <a:pt x="160" y="66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203" y="85"/>
                  </a:lnTo>
                  <a:lnTo>
                    <a:pt x="228" y="94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81" y="129"/>
                  </a:lnTo>
                  <a:lnTo>
                    <a:pt x="289" y="132"/>
                  </a:lnTo>
                  <a:lnTo>
                    <a:pt x="294" y="135"/>
                  </a:lnTo>
                  <a:lnTo>
                    <a:pt x="294" y="135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294" y="121"/>
                  </a:lnTo>
                  <a:lnTo>
                    <a:pt x="295" y="117"/>
                  </a:lnTo>
                  <a:lnTo>
                    <a:pt x="295" y="117"/>
                  </a:lnTo>
                  <a:lnTo>
                    <a:pt x="300" y="117"/>
                  </a:lnTo>
                  <a:lnTo>
                    <a:pt x="307" y="117"/>
                  </a:lnTo>
                  <a:lnTo>
                    <a:pt x="321" y="120"/>
                  </a:lnTo>
                  <a:lnTo>
                    <a:pt x="334" y="121"/>
                  </a:lnTo>
                  <a:lnTo>
                    <a:pt x="339" y="121"/>
                  </a:lnTo>
                  <a:lnTo>
                    <a:pt x="343" y="120"/>
                  </a:lnTo>
                  <a:lnTo>
                    <a:pt x="343" y="120"/>
                  </a:lnTo>
                  <a:lnTo>
                    <a:pt x="351" y="121"/>
                  </a:lnTo>
                  <a:lnTo>
                    <a:pt x="357" y="122"/>
                  </a:lnTo>
                  <a:lnTo>
                    <a:pt x="362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73" y="120"/>
                  </a:lnTo>
                  <a:lnTo>
                    <a:pt x="383" y="112"/>
                  </a:lnTo>
                  <a:lnTo>
                    <a:pt x="383" y="112"/>
                  </a:lnTo>
                  <a:lnTo>
                    <a:pt x="404" y="96"/>
                  </a:lnTo>
                  <a:lnTo>
                    <a:pt x="404" y="96"/>
                  </a:lnTo>
                  <a:lnTo>
                    <a:pt x="419" y="91"/>
                  </a:lnTo>
                  <a:lnTo>
                    <a:pt x="451" y="81"/>
                  </a:lnTo>
                  <a:lnTo>
                    <a:pt x="451" y="81"/>
                  </a:lnTo>
                  <a:lnTo>
                    <a:pt x="491" y="68"/>
                  </a:lnTo>
                  <a:lnTo>
                    <a:pt x="504" y="62"/>
                  </a:lnTo>
                  <a:lnTo>
                    <a:pt x="510" y="59"/>
                  </a:lnTo>
                  <a:lnTo>
                    <a:pt x="510" y="59"/>
                  </a:lnTo>
                  <a:lnTo>
                    <a:pt x="512" y="59"/>
                  </a:lnTo>
                  <a:lnTo>
                    <a:pt x="513" y="57"/>
                  </a:lnTo>
                  <a:lnTo>
                    <a:pt x="514" y="53"/>
                  </a:lnTo>
                  <a:lnTo>
                    <a:pt x="517" y="47"/>
                  </a:lnTo>
                  <a:lnTo>
                    <a:pt x="522" y="40"/>
                  </a:lnTo>
                  <a:lnTo>
                    <a:pt x="522" y="40"/>
                  </a:lnTo>
                  <a:lnTo>
                    <a:pt x="523" y="42"/>
                  </a:lnTo>
                  <a:lnTo>
                    <a:pt x="526" y="44"/>
                  </a:lnTo>
                  <a:lnTo>
                    <a:pt x="526" y="44"/>
                  </a:lnTo>
                  <a:lnTo>
                    <a:pt x="544" y="43"/>
                  </a:lnTo>
                  <a:lnTo>
                    <a:pt x="553" y="42"/>
                  </a:lnTo>
                  <a:lnTo>
                    <a:pt x="558" y="42"/>
                  </a:lnTo>
                  <a:lnTo>
                    <a:pt x="558" y="42"/>
                  </a:lnTo>
                  <a:lnTo>
                    <a:pt x="562" y="43"/>
                  </a:lnTo>
                  <a:lnTo>
                    <a:pt x="569" y="44"/>
                  </a:lnTo>
                  <a:lnTo>
                    <a:pt x="580" y="46"/>
                  </a:lnTo>
                  <a:lnTo>
                    <a:pt x="580" y="46"/>
                  </a:lnTo>
                  <a:lnTo>
                    <a:pt x="598" y="52"/>
                  </a:lnTo>
                  <a:lnTo>
                    <a:pt x="605" y="56"/>
                  </a:lnTo>
                  <a:lnTo>
                    <a:pt x="609" y="60"/>
                  </a:lnTo>
                  <a:lnTo>
                    <a:pt x="609" y="60"/>
                  </a:lnTo>
                  <a:lnTo>
                    <a:pt x="613" y="60"/>
                  </a:lnTo>
                  <a:lnTo>
                    <a:pt x="615" y="61"/>
                  </a:lnTo>
                  <a:lnTo>
                    <a:pt x="615" y="61"/>
                  </a:lnTo>
                  <a:lnTo>
                    <a:pt x="616" y="66"/>
                  </a:lnTo>
                  <a:lnTo>
                    <a:pt x="616" y="72"/>
                  </a:lnTo>
                  <a:lnTo>
                    <a:pt x="616" y="72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09" y="78"/>
                  </a:lnTo>
                  <a:lnTo>
                    <a:pt x="609" y="81"/>
                  </a:lnTo>
                  <a:lnTo>
                    <a:pt x="610" y="82"/>
                  </a:lnTo>
                  <a:lnTo>
                    <a:pt x="610" y="82"/>
                  </a:lnTo>
                  <a:lnTo>
                    <a:pt x="615" y="83"/>
                  </a:lnTo>
                  <a:lnTo>
                    <a:pt x="620" y="86"/>
                  </a:lnTo>
                  <a:lnTo>
                    <a:pt x="628" y="88"/>
                  </a:lnTo>
                  <a:lnTo>
                    <a:pt x="637" y="92"/>
                  </a:lnTo>
                  <a:lnTo>
                    <a:pt x="637" y="92"/>
                  </a:lnTo>
                  <a:lnTo>
                    <a:pt x="641" y="92"/>
                  </a:lnTo>
                  <a:lnTo>
                    <a:pt x="645" y="91"/>
                  </a:lnTo>
                  <a:lnTo>
                    <a:pt x="649" y="90"/>
                  </a:lnTo>
                  <a:lnTo>
                    <a:pt x="651" y="88"/>
                  </a:lnTo>
                  <a:lnTo>
                    <a:pt x="651" y="88"/>
                  </a:lnTo>
                  <a:lnTo>
                    <a:pt x="654" y="90"/>
                  </a:lnTo>
                  <a:lnTo>
                    <a:pt x="658" y="92"/>
                  </a:lnTo>
                  <a:lnTo>
                    <a:pt x="664" y="99"/>
                  </a:lnTo>
                  <a:lnTo>
                    <a:pt x="675" y="108"/>
                  </a:lnTo>
                  <a:lnTo>
                    <a:pt x="675" y="108"/>
                  </a:lnTo>
                  <a:lnTo>
                    <a:pt x="680" y="112"/>
                  </a:lnTo>
                  <a:lnTo>
                    <a:pt x="684" y="113"/>
                  </a:lnTo>
                  <a:lnTo>
                    <a:pt x="699" y="112"/>
                  </a:lnTo>
                  <a:lnTo>
                    <a:pt x="699" y="112"/>
                  </a:lnTo>
                  <a:lnTo>
                    <a:pt x="701" y="112"/>
                  </a:lnTo>
                  <a:lnTo>
                    <a:pt x="702" y="110"/>
                  </a:lnTo>
                  <a:lnTo>
                    <a:pt x="702" y="105"/>
                  </a:lnTo>
                  <a:lnTo>
                    <a:pt x="703" y="97"/>
                  </a:lnTo>
                  <a:lnTo>
                    <a:pt x="703" y="97"/>
                  </a:lnTo>
                  <a:lnTo>
                    <a:pt x="708" y="87"/>
                  </a:lnTo>
                  <a:lnTo>
                    <a:pt x="714" y="78"/>
                  </a:lnTo>
                  <a:lnTo>
                    <a:pt x="718" y="65"/>
                  </a:lnTo>
                  <a:lnTo>
                    <a:pt x="718" y="65"/>
                  </a:lnTo>
                  <a:lnTo>
                    <a:pt x="725" y="68"/>
                  </a:lnTo>
                  <a:lnTo>
                    <a:pt x="730" y="70"/>
                  </a:lnTo>
                  <a:lnTo>
                    <a:pt x="730" y="70"/>
                  </a:lnTo>
                  <a:lnTo>
                    <a:pt x="732" y="62"/>
                  </a:lnTo>
                  <a:lnTo>
                    <a:pt x="734" y="47"/>
                  </a:lnTo>
                  <a:lnTo>
                    <a:pt x="738" y="25"/>
                  </a:lnTo>
                  <a:lnTo>
                    <a:pt x="738" y="25"/>
                  </a:lnTo>
                  <a:lnTo>
                    <a:pt x="742" y="27"/>
                  </a:lnTo>
                  <a:lnTo>
                    <a:pt x="747" y="29"/>
                  </a:lnTo>
                  <a:lnTo>
                    <a:pt x="747" y="29"/>
                  </a:lnTo>
                  <a:lnTo>
                    <a:pt x="749" y="25"/>
                  </a:lnTo>
                  <a:lnTo>
                    <a:pt x="751" y="21"/>
                  </a:lnTo>
                  <a:lnTo>
                    <a:pt x="754" y="20"/>
                  </a:lnTo>
                  <a:lnTo>
                    <a:pt x="755" y="18"/>
                  </a:lnTo>
                  <a:lnTo>
                    <a:pt x="755" y="18"/>
                  </a:lnTo>
                  <a:lnTo>
                    <a:pt x="765" y="22"/>
                  </a:lnTo>
                  <a:lnTo>
                    <a:pt x="781" y="26"/>
                  </a:lnTo>
                  <a:lnTo>
                    <a:pt x="798" y="31"/>
                  </a:lnTo>
                  <a:lnTo>
                    <a:pt x="807" y="33"/>
                  </a:lnTo>
                  <a:lnTo>
                    <a:pt x="807" y="33"/>
                  </a:lnTo>
                  <a:lnTo>
                    <a:pt x="817" y="31"/>
                  </a:lnTo>
                  <a:lnTo>
                    <a:pt x="828" y="30"/>
                  </a:lnTo>
                  <a:lnTo>
                    <a:pt x="828" y="30"/>
                  </a:lnTo>
                  <a:lnTo>
                    <a:pt x="828" y="29"/>
                  </a:lnTo>
                  <a:lnTo>
                    <a:pt x="828" y="26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8" y="18"/>
                  </a:lnTo>
                  <a:lnTo>
                    <a:pt x="833" y="16"/>
                  </a:lnTo>
                  <a:lnTo>
                    <a:pt x="847" y="9"/>
                  </a:lnTo>
                  <a:lnTo>
                    <a:pt x="847" y="9"/>
                  </a:lnTo>
                  <a:lnTo>
                    <a:pt x="856" y="3"/>
                  </a:lnTo>
                  <a:lnTo>
                    <a:pt x="860" y="0"/>
                  </a:lnTo>
                  <a:lnTo>
                    <a:pt x="860" y="0"/>
                  </a:lnTo>
                  <a:lnTo>
                    <a:pt x="861" y="4"/>
                  </a:lnTo>
                  <a:lnTo>
                    <a:pt x="864" y="9"/>
                  </a:lnTo>
                  <a:lnTo>
                    <a:pt x="868" y="13"/>
                  </a:lnTo>
                  <a:lnTo>
                    <a:pt x="868" y="13"/>
                  </a:lnTo>
                  <a:lnTo>
                    <a:pt x="873" y="16"/>
                  </a:lnTo>
                  <a:lnTo>
                    <a:pt x="876" y="18"/>
                  </a:lnTo>
                  <a:lnTo>
                    <a:pt x="878" y="22"/>
                  </a:lnTo>
                  <a:lnTo>
                    <a:pt x="878" y="22"/>
                  </a:lnTo>
                  <a:lnTo>
                    <a:pt x="882" y="27"/>
                  </a:lnTo>
                  <a:lnTo>
                    <a:pt x="885" y="30"/>
                  </a:lnTo>
                  <a:lnTo>
                    <a:pt x="886" y="31"/>
                  </a:lnTo>
                  <a:lnTo>
                    <a:pt x="886" y="31"/>
                  </a:lnTo>
                  <a:lnTo>
                    <a:pt x="887" y="30"/>
                  </a:lnTo>
                  <a:lnTo>
                    <a:pt x="890" y="27"/>
                  </a:lnTo>
                  <a:lnTo>
                    <a:pt x="891" y="24"/>
                  </a:lnTo>
                  <a:lnTo>
                    <a:pt x="891" y="18"/>
                  </a:lnTo>
                  <a:lnTo>
                    <a:pt x="891" y="18"/>
                  </a:lnTo>
                  <a:lnTo>
                    <a:pt x="902" y="20"/>
                  </a:lnTo>
                  <a:lnTo>
                    <a:pt x="902" y="20"/>
                  </a:lnTo>
                  <a:lnTo>
                    <a:pt x="899" y="59"/>
                  </a:lnTo>
                  <a:lnTo>
                    <a:pt x="899" y="59"/>
                  </a:lnTo>
                  <a:lnTo>
                    <a:pt x="899" y="64"/>
                  </a:lnTo>
                  <a:lnTo>
                    <a:pt x="898" y="69"/>
                  </a:lnTo>
                  <a:lnTo>
                    <a:pt x="895" y="73"/>
                  </a:lnTo>
                  <a:lnTo>
                    <a:pt x="895" y="73"/>
                  </a:lnTo>
                  <a:lnTo>
                    <a:pt x="895" y="85"/>
                  </a:lnTo>
                  <a:lnTo>
                    <a:pt x="894" y="97"/>
                  </a:lnTo>
                  <a:lnTo>
                    <a:pt x="894" y="97"/>
                  </a:lnTo>
                  <a:lnTo>
                    <a:pt x="903" y="103"/>
                  </a:lnTo>
                  <a:lnTo>
                    <a:pt x="908" y="105"/>
                  </a:lnTo>
                  <a:lnTo>
                    <a:pt x="912" y="109"/>
                  </a:lnTo>
                  <a:lnTo>
                    <a:pt x="912" y="109"/>
                  </a:lnTo>
                  <a:lnTo>
                    <a:pt x="920" y="110"/>
                  </a:lnTo>
                  <a:lnTo>
                    <a:pt x="925" y="114"/>
                  </a:lnTo>
                  <a:lnTo>
                    <a:pt x="925" y="114"/>
                  </a:lnTo>
                  <a:lnTo>
                    <a:pt x="930" y="118"/>
                  </a:lnTo>
                  <a:lnTo>
                    <a:pt x="934" y="122"/>
                  </a:lnTo>
                  <a:lnTo>
                    <a:pt x="939" y="125"/>
                  </a:lnTo>
                  <a:lnTo>
                    <a:pt x="939" y="125"/>
                  </a:lnTo>
                  <a:lnTo>
                    <a:pt x="943" y="127"/>
                  </a:lnTo>
                  <a:lnTo>
                    <a:pt x="946" y="129"/>
                  </a:lnTo>
                  <a:lnTo>
                    <a:pt x="953" y="130"/>
                  </a:lnTo>
                  <a:lnTo>
                    <a:pt x="953" y="130"/>
                  </a:lnTo>
                  <a:lnTo>
                    <a:pt x="955" y="127"/>
                  </a:lnTo>
                  <a:lnTo>
                    <a:pt x="957" y="121"/>
                  </a:lnTo>
                  <a:lnTo>
                    <a:pt x="957" y="121"/>
                  </a:lnTo>
                  <a:lnTo>
                    <a:pt x="959" y="120"/>
                  </a:lnTo>
                  <a:lnTo>
                    <a:pt x="960" y="118"/>
                  </a:lnTo>
                  <a:lnTo>
                    <a:pt x="961" y="113"/>
                  </a:lnTo>
                  <a:lnTo>
                    <a:pt x="961" y="105"/>
                  </a:lnTo>
                  <a:lnTo>
                    <a:pt x="961" y="105"/>
                  </a:lnTo>
                  <a:lnTo>
                    <a:pt x="975" y="103"/>
                  </a:lnTo>
                  <a:lnTo>
                    <a:pt x="975" y="103"/>
                  </a:lnTo>
                  <a:lnTo>
                    <a:pt x="977" y="104"/>
                  </a:lnTo>
                  <a:lnTo>
                    <a:pt x="979" y="105"/>
                  </a:lnTo>
                  <a:lnTo>
                    <a:pt x="983" y="110"/>
                  </a:lnTo>
                  <a:lnTo>
                    <a:pt x="983" y="110"/>
                  </a:lnTo>
                  <a:lnTo>
                    <a:pt x="982" y="113"/>
                  </a:lnTo>
                  <a:lnTo>
                    <a:pt x="983" y="116"/>
                  </a:lnTo>
                  <a:lnTo>
                    <a:pt x="983" y="116"/>
                  </a:lnTo>
                  <a:lnTo>
                    <a:pt x="992" y="121"/>
                  </a:lnTo>
                  <a:lnTo>
                    <a:pt x="1000" y="125"/>
                  </a:lnTo>
                  <a:lnTo>
                    <a:pt x="1000" y="125"/>
                  </a:lnTo>
                  <a:lnTo>
                    <a:pt x="1000" y="152"/>
                  </a:lnTo>
                  <a:lnTo>
                    <a:pt x="1000" y="152"/>
                  </a:lnTo>
                  <a:lnTo>
                    <a:pt x="995" y="164"/>
                  </a:lnTo>
                  <a:lnTo>
                    <a:pt x="991" y="174"/>
                  </a:lnTo>
                  <a:lnTo>
                    <a:pt x="988" y="187"/>
                  </a:lnTo>
                  <a:lnTo>
                    <a:pt x="988" y="187"/>
                  </a:lnTo>
                  <a:lnTo>
                    <a:pt x="990" y="195"/>
                  </a:lnTo>
                  <a:lnTo>
                    <a:pt x="991" y="201"/>
                  </a:lnTo>
                  <a:lnTo>
                    <a:pt x="994" y="208"/>
                  </a:lnTo>
                  <a:lnTo>
                    <a:pt x="994" y="208"/>
                  </a:lnTo>
                  <a:lnTo>
                    <a:pt x="991" y="223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91" y="248"/>
                  </a:lnTo>
                  <a:lnTo>
                    <a:pt x="996" y="257"/>
                  </a:lnTo>
                  <a:lnTo>
                    <a:pt x="1003" y="267"/>
                  </a:lnTo>
                  <a:lnTo>
                    <a:pt x="1000" y="304"/>
                  </a:lnTo>
                  <a:lnTo>
                    <a:pt x="992" y="322"/>
                  </a:lnTo>
                  <a:lnTo>
                    <a:pt x="988" y="340"/>
                  </a:lnTo>
                  <a:lnTo>
                    <a:pt x="988" y="340"/>
                  </a:lnTo>
                  <a:lnTo>
                    <a:pt x="984" y="364"/>
                  </a:lnTo>
                  <a:lnTo>
                    <a:pt x="984" y="364"/>
                  </a:lnTo>
                  <a:lnTo>
                    <a:pt x="982" y="370"/>
                  </a:lnTo>
                  <a:lnTo>
                    <a:pt x="979" y="375"/>
                  </a:lnTo>
                  <a:lnTo>
                    <a:pt x="975" y="381"/>
                  </a:lnTo>
                  <a:lnTo>
                    <a:pt x="975" y="381"/>
                  </a:lnTo>
                  <a:lnTo>
                    <a:pt x="973" y="396"/>
                  </a:lnTo>
                  <a:lnTo>
                    <a:pt x="970" y="407"/>
                  </a:lnTo>
                  <a:lnTo>
                    <a:pt x="970" y="414"/>
                  </a:lnTo>
                  <a:lnTo>
                    <a:pt x="970" y="414"/>
                  </a:lnTo>
                  <a:lnTo>
                    <a:pt x="972" y="421"/>
                  </a:lnTo>
                  <a:lnTo>
                    <a:pt x="978" y="436"/>
                  </a:lnTo>
                  <a:lnTo>
                    <a:pt x="978" y="436"/>
                  </a:lnTo>
                  <a:lnTo>
                    <a:pt x="990" y="477"/>
                  </a:lnTo>
                  <a:lnTo>
                    <a:pt x="990" y="477"/>
                  </a:lnTo>
                  <a:lnTo>
                    <a:pt x="1014" y="510"/>
                  </a:lnTo>
                  <a:lnTo>
                    <a:pt x="1014" y="510"/>
                  </a:lnTo>
                  <a:lnTo>
                    <a:pt x="1018" y="513"/>
                  </a:lnTo>
                  <a:lnTo>
                    <a:pt x="1022" y="516"/>
                  </a:lnTo>
                  <a:lnTo>
                    <a:pt x="1032" y="523"/>
                  </a:lnTo>
                  <a:lnTo>
                    <a:pt x="1032" y="523"/>
                  </a:lnTo>
                  <a:lnTo>
                    <a:pt x="1070" y="542"/>
                  </a:lnTo>
                  <a:lnTo>
                    <a:pt x="1096" y="555"/>
                  </a:lnTo>
                  <a:lnTo>
                    <a:pt x="1117" y="565"/>
                  </a:lnTo>
                  <a:lnTo>
                    <a:pt x="1117" y="565"/>
                  </a:lnTo>
                  <a:lnTo>
                    <a:pt x="1117" y="581"/>
                  </a:lnTo>
                  <a:lnTo>
                    <a:pt x="1117" y="594"/>
                  </a:lnTo>
                  <a:lnTo>
                    <a:pt x="1117" y="594"/>
                  </a:lnTo>
                  <a:lnTo>
                    <a:pt x="1122" y="603"/>
                  </a:lnTo>
                  <a:lnTo>
                    <a:pt x="1128" y="615"/>
                  </a:lnTo>
                  <a:lnTo>
                    <a:pt x="1128" y="615"/>
                  </a:lnTo>
                  <a:lnTo>
                    <a:pt x="1130" y="621"/>
                  </a:lnTo>
                  <a:lnTo>
                    <a:pt x="1130" y="630"/>
                  </a:lnTo>
                  <a:lnTo>
                    <a:pt x="1130" y="640"/>
                  </a:lnTo>
                  <a:lnTo>
                    <a:pt x="1130" y="64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9" name="Freeform 186"/>
            <p:cNvSpPr>
              <a:spLocks/>
            </p:cNvSpPr>
            <p:nvPr/>
          </p:nvSpPr>
          <p:spPr bwMode="auto">
            <a:xfrm>
              <a:off x="563490" y="2392956"/>
              <a:ext cx="1685926" cy="1073150"/>
            </a:xfrm>
            <a:custGeom>
              <a:avLst/>
              <a:gdLst>
                <a:gd name="T0" fmla="*/ 218 w 1062"/>
                <a:gd name="T1" fmla="*/ 614 h 676"/>
                <a:gd name="T2" fmla="*/ 340 w 1062"/>
                <a:gd name="T3" fmla="*/ 673 h 676"/>
                <a:gd name="T4" fmla="*/ 389 w 1062"/>
                <a:gd name="T5" fmla="*/ 661 h 676"/>
                <a:gd name="T6" fmla="*/ 449 w 1062"/>
                <a:gd name="T7" fmla="*/ 637 h 676"/>
                <a:gd name="T8" fmla="*/ 559 w 1062"/>
                <a:gd name="T9" fmla="*/ 598 h 676"/>
                <a:gd name="T10" fmla="*/ 604 w 1062"/>
                <a:gd name="T11" fmla="*/ 583 h 676"/>
                <a:gd name="T12" fmla="*/ 659 w 1062"/>
                <a:gd name="T13" fmla="*/ 601 h 676"/>
                <a:gd name="T14" fmla="*/ 655 w 1062"/>
                <a:gd name="T15" fmla="*/ 623 h 676"/>
                <a:gd name="T16" fmla="*/ 697 w 1062"/>
                <a:gd name="T17" fmla="*/ 629 h 676"/>
                <a:gd name="T18" fmla="*/ 744 w 1062"/>
                <a:gd name="T19" fmla="*/ 653 h 676"/>
                <a:gd name="T20" fmla="*/ 771 w 1062"/>
                <a:gd name="T21" fmla="*/ 609 h 676"/>
                <a:gd name="T22" fmla="*/ 795 w 1062"/>
                <a:gd name="T23" fmla="*/ 566 h 676"/>
                <a:gd name="T24" fmla="*/ 863 w 1062"/>
                <a:gd name="T25" fmla="*/ 572 h 676"/>
                <a:gd name="T26" fmla="*/ 893 w 1062"/>
                <a:gd name="T27" fmla="*/ 550 h 676"/>
                <a:gd name="T28" fmla="*/ 914 w 1062"/>
                <a:gd name="T29" fmla="*/ 493 h 676"/>
                <a:gd name="T30" fmla="*/ 948 w 1062"/>
                <a:gd name="T31" fmla="*/ 476 h 676"/>
                <a:gd name="T32" fmla="*/ 993 w 1062"/>
                <a:gd name="T33" fmla="*/ 488 h 676"/>
                <a:gd name="T34" fmla="*/ 1014 w 1062"/>
                <a:gd name="T35" fmla="*/ 469 h 676"/>
                <a:gd name="T36" fmla="*/ 1029 w 1062"/>
                <a:gd name="T37" fmla="*/ 447 h 676"/>
                <a:gd name="T38" fmla="*/ 1037 w 1062"/>
                <a:gd name="T39" fmla="*/ 397 h 676"/>
                <a:gd name="T40" fmla="*/ 1036 w 1062"/>
                <a:gd name="T41" fmla="*/ 356 h 676"/>
                <a:gd name="T42" fmla="*/ 1047 w 1062"/>
                <a:gd name="T43" fmla="*/ 299 h 676"/>
                <a:gd name="T44" fmla="*/ 1042 w 1062"/>
                <a:gd name="T45" fmla="*/ 243 h 676"/>
                <a:gd name="T46" fmla="*/ 1028 w 1062"/>
                <a:gd name="T47" fmla="*/ 211 h 676"/>
                <a:gd name="T48" fmla="*/ 992 w 1062"/>
                <a:gd name="T49" fmla="*/ 176 h 676"/>
                <a:gd name="T50" fmla="*/ 973 w 1062"/>
                <a:gd name="T51" fmla="*/ 133 h 676"/>
                <a:gd name="T52" fmla="*/ 954 w 1062"/>
                <a:gd name="T53" fmla="*/ 110 h 676"/>
                <a:gd name="T54" fmla="*/ 889 w 1062"/>
                <a:gd name="T55" fmla="*/ 101 h 676"/>
                <a:gd name="T56" fmla="*/ 852 w 1062"/>
                <a:gd name="T57" fmla="*/ 95 h 676"/>
                <a:gd name="T58" fmla="*/ 843 w 1062"/>
                <a:gd name="T59" fmla="*/ 49 h 676"/>
                <a:gd name="T60" fmla="*/ 818 w 1062"/>
                <a:gd name="T61" fmla="*/ 45 h 676"/>
                <a:gd name="T62" fmla="*/ 782 w 1062"/>
                <a:gd name="T63" fmla="*/ 46 h 676"/>
                <a:gd name="T64" fmla="*/ 767 w 1062"/>
                <a:gd name="T65" fmla="*/ 79 h 676"/>
                <a:gd name="T66" fmla="*/ 744 w 1062"/>
                <a:gd name="T67" fmla="*/ 72 h 676"/>
                <a:gd name="T68" fmla="*/ 745 w 1062"/>
                <a:gd name="T69" fmla="*/ 63 h 676"/>
                <a:gd name="T70" fmla="*/ 707 w 1062"/>
                <a:gd name="T71" fmla="*/ 62 h 676"/>
                <a:gd name="T72" fmla="*/ 722 w 1062"/>
                <a:gd name="T73" fmla="*/ 42 h 676"/>
                <a:gd name="T74" fmla="*/ 681 w 1062"/>
                <a:gd name="T75" fmla="*/ 24 h 676"/>
                <a:gd name="T76" fmla="*/ 668 w 1062"/>
                <a:gd name="T77" fmla="*/ 7 h 676"/>
                <a:gd name="T78" fmla="*/ 656 w 1062"/>
                <a:gd name="T79" fmla="*/ 13 h 676"/>
                <a:gd name="T80" fmla="*/ 633 w 1062"/>
                <a:gd name="T81" fmla="*/ 20 h 676"/>
                <a:gd name="T82" fmla="*/ 613 w 1062"/>
                <a:gd name="T83" fmla="*/ 57 h 676"/>
                <a:gd name="T84" fmla="*/ 592 w 1062"/>
                <a:gd name="T85" fmla="*/ 66 h 676"/>
                <a:gd name="T86" fmla="*/ 545 w 1062"/>
                <a:gd name="T87" fmla="*/ 80 h 676"/>
                <a:gd name="T88" fmla="*/ 468 w 1062"/>
                <a:gd name="T89" fmla="*/ 98 h 676"/>
                <a:gd name="T90" fmla="*/ 463 w 1062"/>
                <a:gd name="T91" fmla="*/ 133 h 676"/>
                <a:gd name="T92" fmla="*/ 401 w 1062"/>
                <a:gd name="T93" fmla="*/ 158 h 676"/>
                <a:gd name="T94" fmla="*/ 367 w 1062"/>
                <a:gd name="T95" fmla="*/ 162 h 676"/>
                <a:gd name="T96" fmla="*/ 359 w 1062"/>
                <a:gd name="T97" fmla="*/ 165 h 676"/>
                <a:gd name="T98" fmla="*/ 361 w 1062"/>
                <a:gd name="T99" fmla="*/ 246 h 676"/>
                <a:gd name="T100" fmla="*/ 366 w 1062"/>
                <a:gd name="T101" fmla="*/ 282 h 676"/>
                <a:gd name="T102" fmla="*/ 298 w 1062"/>
                <a:gd name="T103" fmla="*/ 300 h 676"/>
                <a:gd name="T104" fmla="*/ 280 w 1062"/>
                <a:gd name="T105" fmla="*/ 278 h 676"/>
                <a:gd name="T106" fmla="*/ 262 w 1062"/>
                <a:gd name="T107" fmla="*/ 219 h 676"/>
                <a:gd name="T108" fmla="*/ 252 w 1062"/>
                <a:gd name="T109" fmla="*/ 187 h 676"/>
                <a:gd name="T110" fmla="*/ 235 w 1062"/>
                <a:gd name="T111" fmla="*/ 162 h 676"/>
                <a:gd name="T112" fmla="*/ 206 w 1062"/>
                <a:gd name="T113" fmla="*/ 168 h 676"/>
                <a:gd name="T114" fmla="*/ 188 w 1062"/>
                <a:gd name="T115" fmla="*/ 184 h 676"/>
                <a:gd name="T116" fmla="*/ 186 w 1062"/>
                <a:gd name="T117" fmla="*/ 211 h 676"/>
                <a:gd name="T118" fmla="*/ 117 w 1062"/>
                <a:gd name="T119" fmla="*/ 248 h 676"/>
                <a:gd name="T120" fmla="*/ 100 w 1062"/>
                <a:gd name="T121" fmla="*/ 391 h 676"/>
                <a:gd name="T122" fmla="*/ 0 w 1062"/>
                <a:gd name="T123" fmla="*/ 496 h 676"/>
                <a:gd name="T124" fmla="*/ 88 w 1062"/>
                <a:gd name="T125" fmla="*/ 557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2" h="676">
                  <a:moveTo>
                    <a:pt x="88" y="557"/>
                  </a:moveTo>
                  <a:lnTo>
                    <a:pt x="88" y="557"/>
                  </a:lnTo>
                  <a:lnTo>
                    <a:pt x="116" y="568"/>
                  </a:lnTo>
                  <a:lnTo>
                    <a:pt x="116" y="568"/>
                  </a:lnTo>
                  <a:lnTo>
                    <a:pt x="147" y="579"/>
                  </a:lnTo>
                  <a:lnTo>
                    <a:pt x="147" y="579"/>
                  </a:lnTo>
                  <a:lnTo>
                    <a:pt x="162" y="587"/>
                  </a:lnTo>
                  <a:lnTo>
                    <a:pt x="186" y="597"/>
                  </a:lnTo>
                  <a:lnTo>
                    <a:pt x="206" y="606"/>
                  </a:lnTo>
                  <a:lnTo>
                    <a:pt x="218" y="614"/>
                  </a:lnTo>
                  <a:lnTo>
                    <a:pt x="218" y="614"/>
                  </a:lnTo>
                  <a:lnTo>
                    <a:pt x="249" y="624"/>
                  </a:lnTo>
                  <a:lnTo>
                    <a:pt x="274" y="635"/>
                  </a:lnTo>
                  <a:lnTo>
                    <a:pt x="315" y="663"/>
                  </a:lnTo>
                  <a:lnTo>
                    <a:pt x="315" y="663"/>
                  </a:lnTo>
                  <a:lnTo>
                    <a:pt x="327" y="670"/>
                  </a:lnTo>
                  <a:lnTo>
                    <a:pt x="335" y="673"/>
                  </a:lnTo>
                  <a:lnTo>
                    <a:pt x="340" y="676"/>
                  </a:lnTo>
                  <a:lnTo>
                    <a:pt x="340" y="676"/>
                  </a:lnTo>
                  <a:lnTo>
                    <a:pt x="340" y="673"/>
                  </a:lnTo>
                  <a:lnTo>
                    <a:pt x="340" y="667"/>
                  </a:lnTo>
                  <a:lnTo>
                    <a:pt x="340" y="662"/>
                  </a:lnTo>
                  <a:lnTo>
                    <a:pt x="341" y="658"/>
                  </a:lnTo>
                  <a:lnTo>
                    <a:pt x="341" y="658"/>
                  </a:lnTo>
                  <a:lnTo>
                    <a:pt x="346" y="658"/>
                  </a:lnTo>
                  <a:lnTo>
                    <a:pt x="353" y="658"/>
                  </a:lnTo>
                  <a:lnTo>
                    <a:pt x="367" y="661"/>
                  </a:lnTo>
                  <a:lnTo>
                    <a:pt x="379" y="662"/>
                  </a:lnTo>
                  <a:lnTo>
                    <a:pt x="384" y="662"/>
                  </a:lnTo>
                  <a:lnTo>
                    <a:pt x="389" y="661"/>
                  </a:lnTo>
                  <a:lnTo>
                    <a:pt x="389" y="661"/>
                  </a:lnTo>
                  <a:lnTo>
                    <a:pt x="397" y="662"/>
                  </a:lnTo>
                  <a:lnTo>
                    <a:pt x="403" y="663"/>
                  </a:lnTo>
                  <a:lnTo>
                    <a:pt x="407" y="664"/>
                  </a:lnTo>
                  <a:lnTo>
                    <a:pt x="412" y="664"/>
                  </a:lnTo>
                  <a:lnTo>
                    <a:pt x="412" y="664"/>
                  </a:lnTo>
                  <a:lnTo>
                    <a:pt x="419" y="661"/>
                  </a:lnTo>
                  <a:lnTo>
                    <a:pt x="429" y="653"/>
                  </a:lnTo>
                  <a:lnTo>
                    <a:pt x="429" y="653"/>
                  </a:lnTo>
                  <a:lnTo>
                    <a:pt x="449" y="637"/>
                  </a:lnTo>
                  <a:lnTo>
                    <a:pt x="449" y="637"/>
                  </a:lnTo>
                  <a:lnTo>
                    <a:pt x="465" y="632"/>
                  </a:lnTo>
                  <a:lnTo>
                    <a:pt x="497" y="622"/>
                  </a:lnTo>
                  <a:lnTo>
                    <a:pt x="497" y="622"/>
                  </a:lnTo>
                  <a:lnTo>
                    <a:pt x="535" y="607"/>
                  </a:lnTo>
                  <a:lnTo>
                    <a:pt x="550" y="603"/>
                  </a:lnTo>
                  <a:lnTo>
                    <a:pt x="556" y="600"/>
                  </a:lnTo>
                  <a:lnTo>
                    <a:pt x="556" y="600"/>
                  </a:lnTo>
                  <a:lnTo>
                    <a:pt x="558" y="600"/>
                  </a:lnTo>
                  <a:lnTo>
                    <a:pt x="559" y="598"/>
                  </a:lnTo>
                  <a:lnTo>
                    <a:pt x="560" y="593"/>
                  </a:lnTo>
                  <a:lnTo>
                    <a:pt x="563" y="588"/>
                  </a:lnTo>
                  <a:lnTo>
                    <a:pt x="567" y="581"/>
                  </a:lnTo>
                  <a:lnTo>
                    <a:pt x="567" y="581"/>
                  </a:lnTo>
                  <a:lnTo>
                    <a:pt x="569" y="583"/>
                  </a:lnTo>
                  <a:lnTo>
                    <a:pt x="572" y="585"/>
                  </a:lnTo>
                  <a:lnTo>
                    <a:pt x="572" y="585"/>
                  </a:lnTo>
                  <a:lnTo>
                    <a:pt x="590" y="584"/>
                  </a:lnTo>
                  <a:lnTo>
                    <a:pt x="599" y="583"/>
                  </a:lnTo>
                  <a:lnTo>
                    <a:pt x="604" y="583"/>
                  </a:lnTo>
                  <a:lnTo>
                    <a:pt x="604" y="583"/>
                  </a:lnTo>
                  <a:lnTo>
                    <a:pt x="608" y="584"/>
                  </a:lnTo>
                  <a:lnTo>
                    <a:pt x="615" y="585"/>
                  </a:lnTo>
                  <a:lnTo>
                    <a:pt x="626" y="587"/>
                  </a:lnTo>
                  <a:lnTo>
                    <a:pt x="626" y="587"/>
                  </a:lnTo>
                  <a:lnTo>
                    <a:pt x="644" y="593"/>
                  </a:lnTo>
                  <a:lnTo>
                    <a:pt x="651" y="596"/>
                  </a:lnTo>
                  <a:lnTo>
                    <a:pt x="655" y="601"/>
                  </a:lnTo>
                  <a:lnTo>
                    <a:pt x="655" y="601"/>
                  </a:lnTo>
                  <a:lnTo>
                    <a:pt x="659" y="601"/>
                  </a:lnTo>
                  <a:lnTo>
                    <a:pt x="661" y="602"/>
                  </a:lnTo>
                  <a:lnTo>
                    <a:pt x="661" y="602"/>
                  </a:lnTo>
                  <a:lnTo>
                    <a:pt x="662" y="607"/>
                  </a:lnTo>
                  <a:lnTo>
                    <a:pt x="662" y="613"/>
                  </a:lnTo>
                  <a:lnTo>
                    <a:pt x="662" y="613"/>
                  </a:lnTo>
                  <a:lnTo>
                    <a:pt x="655" y="616"/>
                  </a:lnTo>
                  <a:lnTo>
                    <a:pt x="655" y="616"/>
                  </a:lnTo>
                  <a:lnTo>
                    <a:pt x="655" y="619"/>
                  </a:lnTo>
                  <a:lnTo>
                    <a:pt x="655" y="622"/>
                  </a:lnTo>
                  <a:lnTo>
                    <a:pt x="655" y="623"/>
                  </a:lnTo>
                  <a:lnTo>
                    <a:pt x="655" y="623"/>
                  </a:lnTo>
                  <a:lnTo>
                    <a:pt x="660" y="624"/>
                  </a:lnTo>
                  <a:lnTo>
                    <a:pt x="666" y="627"/>
                  </a:lnTo>
                  <a:lnTo>
                    <a:pt x="674" y="629"/>
                  </a:lnTo>
                  <a:lnTo>
                    <a:pt x="683" y="633"/>
                  </a:lnTo>
                  <a:lnTo>
                    <a:pt x="683" y="633"/>
                  </a:lnTo>
                  <a:lnTo>
                    <a:pt x="687" y="633"/>
                  </a:lnTo>
                  <a:lnTo>
                    <a:pt x="691" y="632"/>
                  </a:lnTo>
                  <a:lnTo>
                    <a:pt x="695" y="631"/>
                  </a:lnTo>
                  <a:lnTo>
                    <a:pt x="697" y="629"/>
                  </a:lnTo>
                  <a:lnTo>
                    <a:pt x="697" y="629"/>
                  </a:lnTo>
                  <a:lnTo>
                    <a:pt x="700" y="631"/>
                  </a:lnTo>
                  <a:lnTo>
                    <a:pt x="704" y="633"/>
                  </a:lnTo>
                  <a:lnTo>
                    <a:pt x="710" y="640"/>
                  </a:lnTo>
                  <a:lnTo>
                    <a:pt x="721" y="649"/>
                  </a:lnTo>
                  <a:lnTo>
                    <a:pt x="721" y="649"/>
                  </a:lnTo>
                  <a:lnTo>
                    <a:pt x="726" y="653"/>
                  </a:lnTo>
                  <a:lnTo>
                    <a:pt x="730" y="654"/>
                  </a:lnTo>
                  <a:lnTo>
                    <a:pt x="744" y="653"/>
                  </a:lnTo>
                  <a:lnTo>
                    <a:pt x="744" y="653"/>
                  </a:lnTo>
                  <a:lnTo>
                    <a:pt x="747" y="653"/>
                  </a:lnTo>
                  <a:lnTo>
                    <a:pt x="747" y="651"/>
                  </a:lnTo>
                  <a:lnTo>
                    <a:pt x="748" y="646"/>
                  </a:lnTo>
                  <a:lnTo>
                    <a:pt x="748" y="638"/>
                  </a:lnTo>
                  <a:lnTo>
                    <a:pt x="748" y="638"/>
                  </a:lnTo>
                  <a:lnTo>
                    <a:pt x="754" y="628"/>
                  </a:lnTo>
                  <a:lnTo>
                    <a:pt x="760" y="619"/>
                  </a:lnTo>
                  <a:lnTo>
                    <a:pt x="764" y="606"/>
                  </a:lnTo>
                  <a:lnTo>
                    <a:pt x="764" y="606"/>
                  </a:lnTo>
                  <a:lnTo>
                    <a:pt x="771" y="609"/>
                  </a:lnTo>
                  <a:lnTo>
                    <a:pt x="776" y="611"/>
                  </a:lnTo>
                  <a:lnTo>
                    <a:pt x="776" y="611"/>
                  </a:lnTo>
                  <a:lnTo>
                    <a:pt x="778" y="603"/>
                  </a:lnTo>
                  <a:lnTo>
                    <a:pt x="780" y="588"/>
                  </a:lnTo>
                  <a:lnTo>
                    <a:pt x="783" y="566"/>
                  </a:lnTo>
                  <a:lnTo>
                    <a:pt x="783" y="566"/>
                  </a:lnTo>
                  <a:lnTo>
                    <a:pt x="788" y="567"/>
                  </a:lnTo>
                  <a:lnTo>
                    <a:pt x="793" y="570"/>
                  </a:lnTo>
                  <a:lnTo>
                    <a:pt x="793" y="570"/>
                  </a:lnTo>
                  <a:lnTo>
                    <a:pt x="795" y="566"/>
                  </a:lnTo>
                  <a:lnTo>
                    <a:pt x="797" y="562"/>
                  </a:lnTo>
                  <a:lnTo>
                    <a:pt x="799" y="561"/>
                  </a:lnTo>
                  <a:lnTo>
                    <a:pt x="801" y="559"/>
                  </a:lnTo>
                  <a:lnTo>
                    <a:pt x="801" y="559"/>
                  </a:lnTo>
                  <a:lnTo>
                    <a:pt x="811" y="563"/>
                  </a:lnTo>
                  <a:lnTo>
                    <a:pt x="827" y="567"/>
                  </a:lnTo>
                  <a:lnTo>
                    <a:pt x="844" y="571"/>
                  </a:lnTo>
                  <a:lnTo>
                    <a:pt x="853" y="574"/>
                  </a:lnTo>
                  <a:lnTo>
                    <a:pt x="853" y="574"/>
                  </a:lnTo>
                  <a:lnTo>
                    <a:pt x="863" y="572"/>
                  </a:lnTo>
                  <a:lnTo>
                    <a:pt x="872" y="571"/>
                  </a:lnTo>
                  <a:lnTo>
                    <a:pt x="872" y="571"/>
                  </a:lnTo>
                  <a:lnTo>
                    <a:pt x="874" y="570"/>
                  </a:lnTo>
                  <a:lnTo>
                    <a:pt x="874" y="566"/>
                  </a:lnTo>
                  <a:lnTo>
                    <a:pt x="871" y="561"/>
                  </a:lnTo>
                  <a:lnTo>
                    <a:pt x="871" y="561"/>
                  </a:lnTo>
                  <a:lnTo>
                    <a:pt x="874" y="559"/>
                  </a:lnTo>
                  <a:lnTo>
                    <a:pt x="879" y="556"/>
                  </a:lnTo>
                  <a:lnTo>
                    <a:pt x="893" y="550"/>
                  </a:lnTo>
                  <a:lnTo>
                    <a:pt x="893" y="550"/>
                  </a:lnTo>
                  <a:lnTo>
                    <a:pt x="902" y="544"/>
                  </a:lnTo>
                  <a:lnTo>
                    <a:pt x="906" y="540"/>
                  </a:lnTo>
                  <a:lnTo>
                    <a:pt x="907" y="530"/>
                  </a:lnTo>
                  <a:lnTo>
                    <a:pt x="907" y="530"/>
                  </a:lnTo>
                  <a:lnTo>
                    <a:pt x="919" y="499"/>
                  </a:lnTo>
                  <a:lnTo>
                    <a:pt x="919" y="499"/>
                  </a:lnTo>
                  <a:lnTo>
                    <a:pt x="919" y="497"/>
                  </a:lnTo>
                  <a:lnTo>
                    <a:pt x="919" y="497"/>
                  </a:lnTo>
                  <a:lnTo>
                    <a:pt x="914" y="493"/>
                  </a:lnTo>
                  <a:lnTo>
                    <a:pt x="914" y="493"/>
                  </a:lnTo>
                  <a:lnTo>
                    <a:pt x="914" y="489"/>
                  </a:lnTo>
                  <a:lnTo>
                    <a:pt x="914" y="488"/>
                  </a:lnTo>
                  <a:lnTo>
                    <a:pt x="916" y="487"/>
                  </a:lnTo>
                  <a:lnTo>
                    <a:pt x="920" y="489"/>
                  </a:lnTo>
                  <a:lnTo>
                    <a:pt x="920" y="489"/>
                  </a:lnTo>
                  <a:lnTo>
                    <a:pt x="932" y="479"/>
                  </a:lnTo>
                  <a:lnTo>
                    <a:pt x="932" y="479"/>
                  </a:lnTo>
                  <a:lnTo>
                    <a:pt x="933" y="478"/>
                  </a:lnTo>
                  <a:lnTo>
                    <a:pt x="938" y="476"/>
                  </a:lnTo>
                  <a:lnTo>
                    <a:pt x="948" y="476"/>
                  </a:lnTo>
                  <a:lnTo>
                    <a:pt x="954" y="479"/>
                  </a:lnTo>
                  <a:lnTo>
                    <a:pt x="963" y="482"/>
                  </a:lnTo>
                  <a:lnTo>
                    <a:pt x="963" y="482"/>
                  </a:lnTo>
                  <a:lnTo>
                    <a:pt x="966" y="480"/>
                  </a:lnTo>
                  <a:lnTo>
                    <a:pt x="967" y="479"/>
                  </a:lnTo>
                  <a:lnTo>
                    <a:pt x="968" y="479"/>
                  </a:lnTo>
                  <a:lnTo>
                    <a:pt x="968" y="479"/>
                  </a:lnTo>
                  <a:lnTo>
                    <a:pt x="980" y="484"/>
                  </a:lnTo>
                  <a:lnTo>
                    <a:pt x="993" y="488"/>
                  </a:lnTo>
                  <a:lnTo>
                    <a:pt x="993" y="488"/>
                  </a:lnTo>
                  <a:lnTo>
                    <a:pt x="1002" y="486"/>
                  </a:lnTo>
                  <a:lnTo>
                    <a:pt x="1005" y="484"/>
                  </a:lnTo>
                  <a:lnTo>
                    <a:pt x="1007" y="480"/>
                  </a:lnTo>
                  <a:lnTo>
                    <a:pt x="1007" y="480"/>
                  </a:lnTo>
                  <a:lnTo>
                    <a:pt x="1006" y="478"/>
                  </a:lnTo>
                  <a:lnTo>
                    <a:pt x="1006" y="476"/>
                  </a:lnTo>
                  <a:lnTo>
                    <a:pt x="1006" y="474"/>
                  </a:lnTo>
                  <a:lnTo>
                    <a:pt x="1010" y="473"/>
                  </a:lnTo>
                  <a:lnTo>
                    <a:pt x="1010" y="473"/>
                  </a:lnTo>
                  <a:lnTo>
                    <a:pt x="1014" y="469"/>
                  </a:lnTo>
                  <a:lnTo>
                    <a:pt x="1018" y="464"/>
                  </a:lnTo>
                  <a:lnTo>
                    <a:pt x="1018" y="464"/>
                  </a:lnTo>
                  <a:lnTo>
                    <a:pt x="1024" y="465"/>
                  </a:lnTo>
                  <a:lnTo>
                    <a:pt x="1028" y="465"/>
                  </a:lnTo>
                  <a:lnTo>
                    <a:pt x="1030" y="464"/>
                  </a:lnTo>
                  <a:lnTo>
                    <a:pt x="1030" y="464"/>
                  </a:lnTo>
                  <a:lnTo>
                    <a:pt x="1030" y="462"/>
                  </a:lnTo>
                  <a:lnTo>
                    <a:pt x="1028" y="458"/>
                  </a:lnTo>
                  <a:lnTo>
                    <a:pt x="1028" y="454"/>
                  </a:lnTo>
                  <a:lnTo>
                    <a:pt x="1029" y="447"/>
                  </a:lnTo>
                  <a:lnTo>
                    <a:pt x="1029" y="447"/>
                  </a:lnTo>
                  <a:lnTo>
                    <a:pt x="1036" y="436"/>
                  </a:lnTo>
                  <a:lnTo>
                    <a:pt x="1041" y="429"/>
                  </a:lnTo>
                  <a:lnTo>
                    <a:pt x="1045" y="418"/>
                  </a:lnTo>
                  <a:lnTo>
                    <a:pt x="1046" y="409"/>
                  </a:lnTo>
                  <a:lnTo>
                    <a:pt x="1046" y="409"/>
                  </a:lnTo>
                  <a:lnTo>
                    <a:pt x="1041" y="405"/>
                  </a:lnTo>
                  <a:lnTo>
                    <a:pt x="1038" y="403"/>
                  </a:lnTo>
                  <a:lnTo>
                    <a:pt x="1037" y="400"/>
                  </a:lnTo>
                  <a:lnTo>
                    <a:pt x="1037" y="397"/>
                  </a:lnTo>
                  <a:lnTo>
                    <a:pt x="1037" y="395"/>
                  </a:lnTo>
                  <a:lnTo>
                    <a:pt x="1034" y="394"/>
                  </a:lnTo>
                  <a:lnTo>
                    <a:pt x="1032" y="394"/>
                  </a:lnTo>
                  <a:lnTo>
                    <a:pt x="1032" y="394"/>
                  </a:lnTo>
                  <a:lnTo>
                    <a:pt x="1032" y="388"/>
                  </a:lnTo>
                  <a:lnTo>
                    <a:pt x="1033" y="383"/>
                  </a:lnTo>
                  <a:lnTo>
                    <a:pt x="1037" y="373"/>
                  </a:lnTo>
                  <a:lnTo>
                    <a:pt x="1037" y="366"/>
                  </a:lnTo>
                  <a:lnTo>
                    <a:pt x="1037" y="361"/>
                  </a:lnTo>
                  <a:lnTo>
                    <a:pt x="1036" y="356"/>
                  </a:lnTo>
                  <a:lnTo>
                    <a:pt x="1032" y="351"/>
                  </a:lnTo>
                  <a:lnTo>
                    <a:pt x="1032" y="351"/>
                  </a:lnTo>
                  <a:lnTo>
                    <a:pt x="1040" y="343"/>
                  </a:lnTo>
                  <a:lnTo>
                    <a:pt x="1046" y="334"/>
                  </a:lnTo>
                  <a:lnTo>
                    <a:pt x="1053" y="326"/>
                  </a:lnTo>
                  <a:lnTo>
                    <a:pt x="1059" y="318"/>
                  </a:lnTo>
                  <a:lnTo>
                    <a:pt x="1059" y="318"/>
                  </a:lnTo>
                  <a:lnTo>
                    <a:pt x="1054" y="313"/>
                  </a:lnTo>
                  <a:lnTo>
                    <a:pt x="1049" y="307"/>
                  </a:lnTo>
                  <a:lnTo>
                    <a:pt x="1047" y="299"/>
                  </a:lnTo>
                  <a:lnTo>
                    <a:pt x="1047" y="291"/>
                  </a:lnTo>
                  <a:lnTo>
                    <a:pt x="1047" y="291"/>
                  </a:lnTo>
                  <a:lnTo>
                    <a:pt x="1062" y="257"/>
                  </a:lnTo>
                  <a:lnTo>
                    <a:pt x="1062" y="257"/>
                  </a:lnTo>
                  <a:lnTo>
                    <a:pt x="1060" y="255"/>
                  </a:lnTo>
                  <a:lnTo>
                    <a:pt x="1056" y="252"/>
                  </a:lnTo>
                  <a:lnTo>
                    <a:pt x="1053" y="250"/>
                  </a:lnTo>
                  <a:lnTo>
                    <a:pt x="1053" y="250"/>
                  </a:lnTo>
                  <a:lnTo>
                    <a:pt x="1046" y="246"/>
                  </a:lnTo>
                  <a:lnTo>
                    <a:pt x="1042" y="243"/>
                  </a:lnTo>
                  <a:lnTo>
                    <a:pt x="1040" y="241"/>
                  </a:lnTo>
                  <a:lnTo>
                    <a:pt x="1040" y="238"/>
                  </a:lnTo>
                  <a:lnTo>
                    <a:pt x="1040" y="238"/>
                  </a:lnTo>
                  <a:lnTo>
                    <a:pt x="1038" y="234"/>
                  </a:lnTo>
                  <a:lnTo>
                    <a:pt x="1037" y="232"/>
                  </a:lnTo>
                  <a:lnTo>
                    <a:pt x="1034" y="229"/>
                  </a:lnTo>
                  <a:lnTo>
                    <a:pt x="1030" y="228"/>
                  </a:lnTo>
                  <a:lnTo>
                    <a:pt x="1030" y="228"/>
                  </a:lnTo>
                  <a:lnTo>
                    <a:pt x="1029" y="220"/>
                  </a:lnTo>
                  <a:lnTo>
                    <a:pt x="1028" y="211"/>
                  </a:lnTo>
                  <a:lnTo>
                    <a:pt x="1028" y="203"/>
                  </a:lnTo>
                  <a:lnTo>
                    <a:pt x="1027" y="197"/>
                  </a:lnTo>
                  <a:lnTo>
                    <a:pt x="1027" y="197"/>
                  </a:lnTo>
                  <a:lnTo>
                    <a:pt x="1020" y="194"/>
                  </a:lnTo>
                  <a:lnTo>
                    <a:pt x="1018" y="191"/>
                  </a:lnTo>
                  <a:lnTo>
                    <a:pt x="1012" y="186"/>
                  </a:lnTo>
                  <a:lnTo>
                    <a:pt x="1005" y="180"/>
                  </a:lnTo>
                  <a:lnTo>
                    <a:pt x="1005" y="180"/>
                  </a:lnTo>
                  <a:lnTo>
                    <a:pt x="998" y="178"/>
                  </a:lnTo>
                  <a:lnTo>
                    <a:pt x="992" y="176"/>
                  </a:lnTo>
                  <a:lnTo>
                    <a:pt x="986" y="173"/>
                  </a:lnTo>
                  <a:lnTo>
                    <a:pt x="981" y="169"/>
                  </a:lnTo>
                  <a:lnTo>
                    <a:pt x="979" y="165"/>
                  </a:lnTo>
                  <a:lnTo>
                    <a:pt x="975" y="162"/>
                  </a:lnTo>
                  <a:lnTo>
                    <a:pt x="972" y="154"/>
                  </a:lnTo>
                  <a:lnTo>
                    <a:pt x="972" y="154"/>
                  </a:lnTo>
                  <a:lnTo>
                    <a:pt x="971" y="149"/>
                  </a:lnTo>
                  <a:lnTo>
                    <a:pt x="972" y="143"/>
                  </a:lnTo>
                  <a:lnTo>
                    <a:pt x="973" y="138"/>
                  </a:lnTo>
                  <a:lnTo>
                    <a:pt x="973" y="133"/>
                  </a:lnTo>
                  <a:lnTo>
                    <a:pt x="973" y="133"/>
                  </a:lnTo>
                  <a:lnTo>
                    <a:pt x="971" y="128"/>
                  </a:lnTo>
                  <a:lnTo>
                    <a:pt x="968" y="127"/>
                  </a:lnTo>
                  <a:lnTo>
                    <a:pt x="963" y="125"/>
                  </a:lnTo>
                  <a:lnTo>
                    <a:pt x="963" y="125"/>
                  </a:lnTo>
                  <a:lnTo>
                    <a:pt x="962" y="123"/>
                  </a:lnTo>
                  <a:lnTo>
                    <a:pt x="959" y="119"/>
                  </a:lnTo>
                  <a:lnTo>
                    <a:pt x="957" y="115"/>
                  </a:lnTo>
                  <a:lnTo>
                    <a:pt x="954" y="110"/>
                  </a:lnTo>
                  <a:lnTo>
                    <a:pt x="954" y="110"/>
                  </a:lnTo>
                  <a:lnTo>
                    <a:pt x="953" y="108"/>
                  </a:lnTo>
                  <a:lnTo>
                    <a:pt x="950" y="107"/>
                  </a:lnTo>
                  <a:lnTo>
                    <a:pt x="945" y="106"/>
                  </a:lnTo>
                  <a:lnTo>
                    <a:pt x="937" y="105"/>
                  </a:lnTo>
                  <a:lnTo>
                    <a:pt x="931" y="102"/>
                  </a:lnTo>
                  <a:lnTo>
                    <a:pt x="931" y="102"/>
                  </a:lnTo>
                  <a:lnTo>
                    <a:pt x="914" y="103"/>
                  </a:lnTo>
                  <a:lnTo>
                    <a:pt x="900" y="103"/>
                  </a:lnTo>
                  <a:lnTo>
                    <a:pt x="894" y="102"/>
                  </a:lnTo>
                  <a:lnTo>
                    <a:pt x="889" y="101"/>
                  </a:lnTo>
                  <a:lnTo>
                    <a:pt x="885" y="98"/>
                  </a:lnTo>
                  <a:lnTo>
                    <a:pt x="881" y="93"/>
                  </a:lnTo>
                  <a:lnTo>
                    <a:pt x="881" y="93"/>
                  </a:lnTo>
                  <a:lnTo>
                    <a:pt x="874" y="97"/>
                  </a:lnTo>
                  <a:lnTo>
                    <a:pt x="867" y="99"/>
                  </a:lnTo>
                  <a:lnTo>
                    <a:pt x="863" y="99"/>
                  </a:lnTo>
                  <a:lnTo>
                    <a:pt x="859" y="99"/>
                  </a:lnTo>
                  <a:lnTo>
                    <a:pt x="856" y="98"/>
                  </a:lnTo>
                  <a:lnTo>
                    <a:pt x="852" y="95"/>
                  </a:lnTo>
                  <a:lnTo>
                    <a:pt x="852" y="95"/>
                  </a:lnTo>
                  <a:lnTo>
                    <a:pt x="850" y="93"/>
                  </a:lnTo>
                  <a:lnTo>
                    <a:pt x="849" y="92"/>
                  </a:lnTo>
                  <a:lnTo>
                    <a:pt x="850" y="85"/>
                  </a:lnTo>
                  <a:lnTo>
                    <a:pt x="850" y="85"/>
                  </a:lnTo>
                  <a:lnTo>
                    <a:pt x="850" y="83"/>
                  </a:lnTo>
                  <a:lnTo>
                    <a:pt x="850" y="80"/>
                  </a:lnTo>
                  <a:lnTo>
                    <a:pt x="846" y="72"/>
                  </a:lnTo>
                  <a:lnTo>
                    <a:pt x="841" y="60"/>
                  </a:lnTo>
                  <a:lnTo>
                    <a:pt x="841" y="60"/>
                  </a:lnTo>
                  <a:lnTo>
                    <a:pt x="843" y="49"/>
                  </a:lnTo>
                  <a:lnTo>
                    <a:pt x="841" y="41"/>
                  </a:lnTo>
                  <a:lnTo>
                    <a:pt x="840" y="38"/>
                  </a:lnTo>
                  <a:lnTo>
                    <a:pt x="839" y="36"/>
                  </a:lnTo>
                  <a:lnTo>
                    <a:pt x="839" y="36"/>
                  </a:lnTo>
                  <a:lnTo>
                    <a:pt x="834" y="41"/>
                  </a:lnTo>
                  <a:lnTo>
                    <a:pt x="830" y="44"/>
                  </a:lnTo>
                  <a:lnTo>
                    <a:pt x="826" y="42"/>
                  </a:lnTo>
                  <a:lnTo>
                    <a:pt x="819" y="41"/>
                  </a:lnTo>
                  <a:lnTo>
                    <a:pt x="819" y="41"/>
                  </a:lnTo>
                  <a:lnTo>
                    <a:pt x="818" y="45"/>
                  </a:lnTo>
                  <a:lnTo>
                    <a:pt x="817" y="48"/>
                  </a:lnTo>
                  <a:lnTo>
                    <a:pt x="813" y="49"/>
                  </a:lnTo>
                  <a:lnTo>
                    <a:pt x="808" y="50"/>
                  </a:lnTo>
                  <a:lnTo>
                    <a:pt x="808" y="50"/>
                  </a:lnTo>
                  <a:lnTo>
                    <a:pt x="804" y="49"/>
                  </a:lnTo>
                  <a:lnTo>
                    <a:pt x="799" y="48"/>
                  </a:lnTo>
                  <a:lnTo>
                    <a:pt x="792" y="45"/>
                  </a:lnTo>
                  <a:lnTo>
                    <a:pt x="784" y="45"/>
                  </a:lnTo>
                  <a:lnTo>
                    <a:pt x="784" y="45"/>
                  </a:lnTo>
                  <a:lnTo>
                    <a:pt x="782" y="46"/>
                  </a:lnTo>
                  <a:lnTo>
                    <a:pt x="776" y="50"/>
                  </a:lnTo>
                  <a:lnTo>
                    <a:pt x="771" y="55"/>
                  </a:lnTo>
                  <a:lnTo>
                    <a:pt x="769" y="59"/>
                  </a:lnTo>
                  <a:lnTo>
                    <a:pt x="767" y="64"/>
                  </a:lnTo>
                  <a:lnTo>
                    <a:pt x="767" y="64"/>
                  </a:lnTo>
                  <a:lnTo>
                    <a:pt x="769" y="67"/>
                  </a:lnTo>
                  <a:lnTo>
                    <a:pt x="770" y="71"/>
                  </a:lnTo>
                  <a:lnTo>
                    <a:pt x="770" y="73"/>
                  </a:lnTo>
                  <a:lnTo>
                    <a:pt x="770" y="76"/>
                  </a:lnTo>
                  <a:lnTo>
                    <a:pt x="767" y="79"/>
                  </a:lnTo>
                  <a:lnTo>
                    <a:pt x="765" y="81"/>
                  </a:lnTo>
                  <a:lnTo>
                    <a:pt x="765" y="81"/>
                  </a:lnTo>
                  <a:lnTo>
                    <a:pt x="756" y="83"/>
                  </a:lnTo>
                  <a:lnTo>
                    <a:pt x="749" y="83"/>
                  </a:lnTo>
                  <a:lnTo>
                    <a:pt x="744" y="81"/>
                  </a:lnTo>
                  <a:lnTo>
                    <a:pt x="744" y="81"/>
                  </a:lnTo>
                  <a:lnTo>
                    <a:pt x="744" y="77"/>
                  </a:lnTo>
                  <a:lnTo>
                    <a:pt x="744" y="75"/>
                  </a:lnTo>
                  <a:lnTo>
                    <a:pt x="744" y="72"/>
                  </a:lnTo>
                  <a:lnTo>
                    <a:pt x="744" y="72"/>
                  </a:lnTo>
                  <a:lnTo>
                    <a:pt x="748" y="70"/>
                  </a:lnTo>
                  <a:lnTo>
                    <a:pt x="749" y="70"/>
                  </a:lnTo>
                  <a:lnTo>
                    <a:pt x="751" y="68"/>
                  </a:lnTo>
                  <a:lnTo>
                    <a:pt x="751" y="68"/>
                  </a:lnTo>
                  <a:lnTo>
                    <a:pt x="751" y="66"/>
                  </a:lnTo>
                  <a:lnTo>
                    <a:pt x="749" y="64"/>
                  </a:lnTo>
                  <a:lnTo>
                    <a:pt x="748" y="63"/>
                  </a:lnTo>
                  <a:lnTo>
                    <a:pt x="747" y="62"/>
                  </a:lnTo>
                  <a:lnTo>
                    <a:pt x="747" y="62"/>
                  </a:lnTo>
                  <a:lnTo>
                    <a:pt x="745" y="63"/>
                  </a:lnTo>
                  <a:lnTo>
                    <a:pt x="743" y="64"/>
                  </a:lnTo>
                  <a:lnTo>
                    <a:pt x="743" y="64"/>
                  </a:lnTo>
                  <a:lnTo>
                    <a:pt x="725" y="72"/>
                  </a:lnTo>
                  <a:lnTo>
                    <a:pt x="725" y="72"/>
                  </a:lnTo>
                  <a:lnTo>
                    <a:pt x="722" y="72"/>
                  </a:lnTo>
                  <a:lnTo>
                    <a:pt x="719" y="71"/>
                  </a:lnTo>
                  <a:lnTo>
                    <a:pt x="716" y="67"/>
                  </a:lnTo>
                  <a:lnTo>
                    <a:pt x="716" y="67"/>
                  </a:lnTo>
                  <a:lnTo>
                    <a:pt x="710" y="66"/>
                  </a:lnTo>
                  <a:lnTo>
                    <a:pt x="707" y="62"/>
                  </a:lnTo>
                  <a:lnTo>
                    <a:pt x="704" y="57"/>
                  </a:lnTo>
                  <a:lnTo>
                    <a:pt x="705" y="51"/>
                  </a:lnTo>
                  <a:lnTo>
                    <a:pt x="705" y="51"/>
                  </a:lnTo>
                  <a:lnTo>
                    <a:pt x="707" y="50"/>
                  </a:lnTo>
                  <a:lnTo>
                    <a:pt x="708" y="50"/>
                  </a:lnTo>
                  <a:lnTo>
                    <a:pt x="713" y="50"/>
                  </a:lnTo>
                  <a:lnTo>
                    <a:pt x="719" y="53"/>
                  </a:lnTo>
                  <a:lnTo>
                    <a:pt x="719" y="53"/>
                  </a:lnTo>
                  <a:lnTo>
                    <a:pt x="721" y="48"/>
                  </a:lnTo>
                  <a:lnTo>
                    <a:pt x="722" y="42"/>
                  </a:lnTo>
                  <a:lnTo>
                    <a:pt x="721" y="41"/>
                  </a:lnTo>
                  <a:lnTo>
                    <a:pt x="719" y="40"/>
                  </a:lnTo>
                  <a:lnTo>
                    <a:pt x="719" y="40"/>
                  </a:lnTo>
                  <a:lnTo>
                    <a:pt x="714" y="37"/>
                  </a:lnTo>
                  <a:lnTo>
                    <a:pt x="713" y="33"/>
                  </a:lnTo>
                  <a:lnTo>
                    <a:pt x="712" y="29"/>
                  </a:lnTo>
                  <a:lnTo>
                    <a:pt x="712" y="29"/>
                  </a:lnTo>
                  <a:lnTo>
                    <a:pt x="700" y="29"/>
                  </a:lnTo>
                  <a:lnTo>
                    <a:pt x="690" y="28"/>
                  </a:lnTo>
                  <a:lnTo>
                    <a:pt x="681" y="24"/>
                  </a:lnTo>
                  <a:lnTo>
                    <a:pt x="675" y="22"/>
                  </a:lnTo>
                  <a:lnTo>
                    <a:pt x="675" y="22"/>
                  </a:lnTo>
                  <a:lnTo>
                    <a:pt x="672" y="20"/>
                  </a:lnTo>
                  <a:lnTo>
                    <a:pt x="669" y="18"/>
                  </a:lnTo>
                  <a:lnTo>
                    <a:pt x="668" y="16"/>
                  </a:lnTo>
                  <a:lnTo>
                    <a:pt x="668" y="14"/>
                  </a:lnTo>
                  <a:lnTo>
                    <a:pt x="669" y="10"/>
                  </a:lnTo>
                  <a:lnTo>
                    <a:pt x="669" y="9"/>
                  </a:lnTo>
                  <a:lnTo>
                    <a:pt x="668" y="7"/>
                  </a:lnTo>
                  <a:lnTo>
                    <a:pt x="668" y="7"/>
                  </a:lnTo>
                  <a:lnTo>
                    <a:pt x="665" y="7"/>
                  </a:lnTo>
                  <a:lnTo>
                    <a:pt x="665" y="7"/>
                  </a:lnTo>
                  <a:lnTo>
                    <a:pt x="664" y="3"/>
                  </a:lnTo>
                  <a:lnTo>
                    <a:pt x="661" y="1"/>
                  </a:lnTo>
                  <a:lnTo>
                    <a:pt x="659" y="0"/>
                  </a:lnTo>
                  <a:lnTo>
                    <a:pt x="656" y="0"/>
                  </a:lnTo>
                  <a:lnTo>
                    <a:pt x="656" y="0"/>
                  </a:lnTo>
                  <a:lnTo>
                    <a:pt x="655" y="3"/>
                  </a:lnTo>
                  <a:lnTo>
                    <a:pt x="655" y="7"/>
                  </a:lnTo>
                  <a:lnTo>
                    <a:pt x="656" y="13"/>
                  </a:lnTo>
                  <a:lnTo>
                    <a:pt x="657" y="15"/>
                  </a:lnTo>
                  <a:lnTo>
                    <a:pt x="657" y="18"/>
                  </a:lnTo>
                  <a:lnTo>
                    <a:pt x="656" y="19"/>
                  </a:lnTo>
                  <a:lnTo>
                    <a:pt x="656" y="19"/>
                  </a:lnTo>
                  <a:lnTo>
                    <a:pt x="653" y="23"/>
                  </a:lnTo>
                  <a:lnTo>
                    <a:pt x="652" y="24"/>
                  </a:lnTo>
                  <a:lnTo>
                    <a:pt x="651" y="26"/>
                  </a:lnTo>
                  <a:lnTo>
                    <a:pt x="648" y="26"/>
                  </a:lnTo>
                  <a:lnTo>
                    <a:pt x="646" y="24"/>
                  </a:lnTo>
                  <a:lnTo>
                    <a:pt x="633" y="20"/>
                  </a:lnTo>
                  <a:lnTo>
                    <a:pt x="633" y="20"/>
                  </a:lnTo>
                  <a:lnTo>
                    <a:pt x="630" y="23"/>
                  </a:lnTo>
                  <a:lnTo>
                    <a:pt x="626" y="26"/>
                  </a:lnTo>
                  <a:lnTo>
                    <a:pt x="622" y="31"/>
                  </a:lnTo>
                  <a:lnTo>
                    <a:pt x="621" y="38"/>
                  </a:lnTo>
                  <a:lnTo>
                    <a:pt x="621" y="38"/>
                  </a:lnTo>
                  <a:lnTo>
                    <a:pt x="620" y="46"/>
                  </a:lnTo>
                  <a:lnTo>
                    <a:pt x="618" y="51"/>
                  </a:lnTo>
                  <a:lnTo>
                    <a:pt x="613" y="57"/>
                  </a:lnTo>
                  <a:lnTo>
                    <a:pt x="613" y="57"/>
                  </a:lnTo>
                  <a:lnTo>
                    <a:pt x="609" y="58"/>
                  </a:lnTo>
                  <a:lnTo>
                    <a:pt x="605" y="58"/>
                  </a:lnTo>
                  <a:lnTo>
                    <a:pt x="603" y="57"/>
                  </a:lnTo>
                  <a:lnTo>
                    <a:pt x="602" y="55"/>
                  </a:lnTo>
                  <a:lnTo>
                    <a:pt x="600" y="54"/>
                  </a:lnTo>
                  <a:lnTo>
                    <a:pt x="599" y="54"/>
                  </a:lnTo>
                  <a:lnTo>
                    <a:pt x="596" y="55"/>
                  </a:lnTo>
                  <a:lnTo>
                    <a:pt x="596" y="55"/>
                  </a:lnTo>
                  <a:lnTo>
                    <a:pt x="594" y="60"/>
                  </a:lnTo>
                  <a:lnTo>
                    <a:pt x="592" y="66"/>
                  </a:lnTo>
                  <a:lnTo>
                    <a:pt x="591" y="70"/>
                  </a:lnTo>
                  <a:lnTo>
                    <a:pt x="590" y="72"/>
                  </a:lnTo>
                  <a:lnTo>
                    <a:pt x="590" y="72"/>
                  </a:lnTo>
                  <a:lnTo>
                    <a:pt x="585" y="75"/>
                  </a:lnTo>
                  <a:lnTo>
                    <a:pt x="577" y="76"/>
                  </a:lnTo>
                  <a:lnTo>
                    <a:pt x="567" y="79"/>
                  </a:lnTo>
                  <a:lnTo>
                    <a:pt x="567" y="79"/>
                  </a:lnTo>
                  <a:lnTo>
                    <a:pt x="563" y="79"/>
                  </a:lnTo>
                  <a:lnTo>
                    <a:pt x="545" y="80"/>
                  </a:lnTo>
                  <a:lnTo>
                    <a:pt x="545" y="80"/>
                  </a:lnTo>
                  <a:lnTo>
                    <a:pt x="538" y="81"/>
                  </a:lnTo>
                  <a:lnTo>
                    <a:pt x="530" y="88"/>
                  </a:lnTo>
                  <a:lnTo>
                    <a:pt x="523" y="94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499" y="95"/>
                  </a:lnTo>
                  <a:lnTo>
                    <a:pt x="480" y="92"/>
                  </a:lnTo>
                  <a:lnTo>
                    <a:pt x="480" y="92"/>
                  </a:lnTo>
                  <a:lnTo>
                    <a:pt x="476" y="94"/>
                  </a:lnTo>
                  <a:lnTo>
                    <a:pt x="468" y="98"/>
                  </a:lnTo>
                  <a:lnTo>
                    <a:pt x="458" y="108"/>
                  </a:lnTo>
                  <a:lnTo>
                    <a:pt x="458" y="108"/>
                  </a:lnTo>
                  <a:lnTo>
                    <a:pt x="462" y="111"/>
                  </a:lnTo>
                  <a:lnTo>
                    <a:pt x="463" y="112"/>
                  </a:lnTo>
                  <a:lnTo>
                    <a:pt x="464" y="115"/>
                  </a:lnTo>
                  <a:lnTo>
                    <a:pt x="464" y="115"/>
                  </a:lnTo>
                  <a:lnTo>
                    <a:pt x="465" y="118"/>
                  </a:lnTo>
                  <a:lnTo>
                    <a:pt x="465" y="124"/>
                  </a:lnTo>
                  <a:lnTo>
                    <a:pt x="465" y="130"/>
                  </a:lnTo>
                  <a:lnTo>
                    <a:pt x="463" y="133"/>
                  </a:lnTo>
                  <a:lnTo>
                    <a:pt x="460" y="134"/>
                  </a:lnTo>
                  <a:lnTo>
                    <a:pt x="460" y="134"/>
                  </a:lnTo>
                  <a:lnTo>
                    <a:pt x="458" y="136"/>
                  </a:lnTo>
                  <a:lnTo>
                    <a:pt x="455" y="137"/>
                  </a:lnTo>
                  <a:lnTo>
                    <a:pt x="450" y="137"/>
                  </a:lnTo>
                  <a:lnTo>
                    <a:pt x="440" y="138"/>
                  </a:lnTo>
                  <a:lnTo>
                    <a:pt x="424" y="142"/>
                  </a:lnTo>
                  <a:lnTo>
                    <a:pt x="424" y="142"/>
                  </a:lnTo>
                  <a:lnTo>
                    <a:pt x="412" y="151"/>
                  </a:lnTo>
                  <a:lnTo>
                    <a:pt x="401" y="158"/>
                  </a:lnTo>
                  <a:lnTo>
                    <a:pt x="386" y="165"/>
                  </a:lnTo>
                  <a:lnTo>
                    <a:pt x="386" y="165"/>
                  </a:lnTo>
                  <a:lnTo>
                    <a:pt x="384" y="168"/>
                  </a:lnTo>
                  <a:lnTo>
                    <a:pt x="381" y="171"/>
                  </a:lnTo>
                  <a:lnTo>
                    <a:pt x="380" y="171"/>
                  </a:lnTo>
                  <a:lnTo>
                    <a:pt x="379" y="169"/>
                  </a:lnTo>
                  <a:lnTo>
                    <a:pt x="376" y="163"/>
                  </a:lnTo>
                  <a:lnTo>
                    <a:pt x="376" y="163"/>
                  </a:lnTo>
                  <a:lnTo>
                    <a:pt x="371" y="163"/>
                  </a:lnTo>
                  <a:lnTo>
                    <a:pt x="367" y="162"/>
                  </a:lnTo>
                  <a:lnTo>
                    <a:pt x="363" y="158"/>
                  </a:lnTo>
                  <a:lnTo>
                    <a:pt x="358" y="149"/>
                  </a:lnTo>
                  <a:lnTo>
                    <a:pt x="358" y="149"/>
                  </a:lnTo>
                  <a:lnTo>
                    <a:pt x="354" y="151"/>
                  </a:lnTo>
                  <a:lnTo>
                    <a:pt x="353" y="154"/>
                  </a:lnTo>
                  <a:lnTo>
                    <a:pt x="353" y="154"/>
                  </a:lnTo>
                  <a:lnTo>
                    <a:pt x="353" y="156"/>
                  </a:lnTo>
                  <a:lnTo>
                    <a:pt x="355" y="159"/>
                  </a:lnTo>
                  <a:lnTo>
                    <a:pt x="359" y="165"/>
                  </a:lnTo>
                  <a:lnTo>
                    <a:pt x="359" y="165"/>
                  </a:lnTo>
                  <a:lnTo>
                    <a:pt x="359" y="169"/>
                  </a:lnTo>
                  <a:lnTo>
                    <a:pt x="359" y="180"/>
                  </a:lnTo>
                  <a:lnTo>
                    <a:pt x="359" y="193"/>
                  </a:lnTo>
                  <a:lnTo>
                    <a:pt x="359" y="193"/>
                  </a:lnTo>
                  <a:lnTo>
                    <a:pt x="358" y="200"/>
                  </a:lnTo>
                  <a:lnTo>
                    <a:pt x="357" y="212"/>
                  </a:lnTo>
                  <a:lnTo>
                    <a:pt x="355" y="228"/>
                  </a:lnTo>
                  <a:lnTo>
                    <a:pt x="355" y="228"/>
                  </a:lnTo>
                  <a:lnTo>
                    <a:pt x="359" y="235"/>
                  </a:lnTo>
                  <a:lnTo>
                    <a:pt x="361" y="246"/>
                  </a:lnTo>
                  <a:lnTo>
                    <a:pt x="361" y="246"/>
                  </a:lnTo>
                  <a:lnTo>
                    <a:pt x="359" y="248"/>
                  </a:lnTo>
                  <a:lnTo>
                    <a:pt x="357" y="252"/>
                  </a:lnTo>
                  <a:lnTo>
                    <a:pt x="351" y="256"/>
                  </a:lnTo>
                  <a:lnTo>
                    <a:pt x="351" y="256"/>
                  </a:lnTo>
                  <a:lnTo>
                    <a:pt x="353" y="257"/>
                  </a:lnTo>
                  <a:lnTo>
                    <a:pt x="354" y="259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66" y="282"/>
                  </a:lnTo>
                  <a:lnTo>
                    <a:pt x="366" y="282"/>
                  </a:lnTo>
                  <a:lnTo>
                    <a:pt x="359" y="283"/>
                  </a:lnTo>
                  <a:lnTo>
                    <a:pt x="354" y="285"/>
                  </a:lnTo>
                  <a:lnTo>
                    <a:pt x="344" y="289"/>
                  </a:lnTo>
                  <a:lnTo>
                    <a:pt x="335" y="294"/>
                  </a:lnTo>
                  <a:lnTo>
                    <a:pt x="335" y="294"/>
                  </a:lnTo>
                  <a:lnTo>
                    <a:pt x="323" y="294"/>
                  </a:lnTo>
                  <a:lnTo>
                    <a:pt x="313" y="295"/>
                  </a:lnTo>
                  <a:lnTo>
                    <a:pt x="298" y="300"/>
                  </a:lnTo>
                  <a:lnTo>
                    <a:pt x="298" y="300"/>
                  </a:lnTo>
                  <a:lnTo>
                    <a:pt x="294" y="299"/>
                  </a:lnTo>
                  <a:lnTo>
                    <a:pt x="292" y="296"/>
                  </a:lnTo>
                  <a:lnTo>
                    <a:pt x="289" y="292"/>
                  </a:lnTo>
                  <a:lnTo>
                    <a:pt x="288" y="287"/>
                  </a:lnTo>
                  <a:lnTo>
                    <a:pt x="288" y="287"/>
                  </a:lnTo>
                  <a:lnTo>
                    <a:pt x="284" y="287"/>
                  </a:lnTo>
                  <a:lnTo>
                    <a:pt x="280" y="286"/>
                  </a:lnTo>
                  <a:lnTo>
                    <a:pt x="279" y="283"/>
                  </a:lnTo>
                  <a:lnTo>
                    <a:pt x="280" y="278"/>
                  </a:lnTo>
                  <a:lnTo>
                    <a:pt x="280" y="278"/>
                  </a:lnTo>
                  <a:lnTo>
                    <a:pt x="278" y="276"/>
                  </a:lnTo>
                  <a:lnTo>
                    <a:pt x="275" y="267"/>
                  </a:lnTo>
                  <a:lnTo>
                    <a:pt x="272" y="254"/>
                  </a:lnTo>
                  <a:lnTo>
                    <a:pt x="272" y="246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69" y="234"/>
                  </a:lnTo>
                  <a:lnTo>
                    <a:pt x="267" y="229"/>
                  </a:lnTo>
                  <a:lnTo>
                    <a:pt x="265" y="224"/>
                  </a:lnTo>
                  <a:lnTo>
                    <a:pt x="262" y="219"/>
                  </a:lnTo>
                  <a:lnTo>
                    <a:pt x="262" y="219"/>
                  </a:lnTo>
                  <a:lnTo>
                    <a:pt x="259" y="207"/>
                  </a:lnTo>
                  <a:lnTo>
                    <a:pt x="259" y="207"/>
                  </a:lnTo>
                  <a:lnTo>
                    <a:pt x="254" y="199"/>
                  </a:lnTo>
                  <a:lnTo>
                    <a:pt x="254" y="199"/>
                  </a:lnTo>
                  <a:lnTo>
                    <a:pt x="254" y="197"/>
                  </a:lnTo>
                  <a:lnTo>
                    <a:pt x="253" y="193"/>
                  </a:lnTo>
                  <a:lnTo>
                    <a:pt x="252" y="190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49" y="185"/>
                  </a:lnTo>
                  <a:lnTo>
                    <a:pt x="247" y="184"/>
                  </a:lnTo>
                  <a:lnTo>
                    <a:pt x="245" y="180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0" y="172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5" y="165"/>
                  </a:lnTo>
                  <a:lnTo>
                    <a:pt x="235" y="162"/>
                  </a:lnTo>
                  <a:lnTo>
                    <a:pt x="232" y="158"/>
                  </a:lnTo>
                  <a:lnTo>
                    <a:pt x="231" y="156"/>
                  </a:lnTo>
                  <a:lnTo>
                    <a:pt x="230" y="156"/>
                  </a:lnTo>
                  <a:lnTo>
                    <a:pt x="230" y="156"/>
                  </a:lnTo>
                  <a:lnTo>
                    <a:pt x="226" y="156"/>
                  </a:lnTo>
                  <a:lnTo>
                    <a:pt x="219" y="158"/>
                  </a:lnTo>
                  <a:lnTo>
                    <a:pt x="214" y="162"/>
                  </a:lnTo>
                  <a:lnTo>
                    <a:pt x="210" y="164"/>
                  </a:lnTo>
                  <a:lnTo>
                    <a:pt x="210" y="164"/>
                  </a:lnTo>
                  <a:lnTo>
                    <a:pt x="206" y="168"/>
                  </a:lnTo>
                  <a:lnTo>
                    <a:pt x="202" y="171"/>
                  </a:lnTo>
                  <a:lnTo>
                    <a:pt x="201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195" y="173"/>
                  </a:lnTo>
                  <a:lnTo>
                    <a:pt x="191" y="173"/>
                  </a:lnTo>
                  <a:lnTo>
                    <a:pt x="188" y="175"/>
                  </a:lnTo>
                  <a:lnTo>
                    <a:pt x="186" y="178"/>
                  </a:lnTo>
                  <a:lnTo>
                    <a:pt x="186" y="178"/>
                  </a:lnTo>
                  <a:lnTo>
                    <a:pt x="188" y="184"/>
                  </a:lnTo>
                  <a:lnTo>
                    <a:pt x="188" y="189"/>
                  </a:lnTo>
                  <a:lnTo>
                    <a:pt x="187" y="190"/>
                  </a:lnTo>
                  <a:lnTo>
                    <a:pt x="186" y="193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9"/>
                  </a:lnTo>
                  <a:lnTo>
                    <a:pt x="180" y="202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11"/>
                  </a:lnTo>
                  <a:lnTo>
                    <a:pt x="184" y="213"/>
                  </a:lnTo>
                  <a:lnTo>
                    <a:pt x="183" y="216"/>
                  </a:lnTo>
                  <a:lnTo>
                    <a:pt x="173" y="226"/>
                  </a:lnTo>
                  <a:lnTo>
                    <a:pt x="151" y="245"/>
                  </a:lnTo>
                  <a:lnTo>
                    <a:pt x="151" y="245"/>
                  </a:lnTo>
                  <a:lnTo>
                    <a:pt x="147" y="243"/>
                  </a:lnTo>
                  <a:lnTo>
                    <a:pt x="142" y="243"/>
                  </a:lnTo>
                  <a:lnTo>
                    <a:pt x="131" y="246"/>
                  </a:lnTo>
                  <a:lnTo>
                    <a:pt x="117" y="248"/>
                  </a:lnTo>
                  <a:lnTo>
                    <a:pt x="117" y="248"/>
                  </a:lnTo>
                  <a:lnTo>
                    <a:pt x="79" y="338"/>
                  </a:lnTo>
                  <a:lnTo>
                    <a:pt x="79" y="338"/>
                  </a:lnTo>
                  <a:lnTo>
                    <a:pt x="87" y="346"/>
                  </a:lnTo>
                  <a:lnTo>
                    <a:pt x="94" y="353"/>
                  </a:lnTo>
                  <a:lnTo>
                    <a:pt x="97" y="360"/>
                  </a:lnTo>
                  <a:lnTo>
                    <a:pt x="101" y="366"/>
                  </a:lnTo>
                  <a:lnTo>
                    <a:pt x="103" y="373"/>
                  </a:lnTo>
                  <a:lnTo>
                    <a:pt x="104" y="379"/>
                  </a:lnTo>
                  <a:lnTo>
                    <a:pt x="103" y="386"/>
                  </a:lnTo>
                  <a:lnTo>
                    <a:pt x="100" y="391"/>
                  </a:lnTo>
                  <a:lnTo>
                    <a:pt x="100" y="391"/>
                  </a:lnTo>
                  <a:lnTo>
                    <a:pt x="87" y="401"/>
                  </a:lnTo>
                  <a:lnTo>
                    <a:pt x="79" y="408"/>
                  </a:lnTo>
                  <a:lnTo>
                    <a:pt x="70" y="410"/>
                  </a:lnTo>
                  <a:lnTo>
                    <a:pt x="57" y="413"/>
                  </a:lnTo>
                  <a:lnTo>
                    <a:pt x="57" y="413"/>
                  </a:lnTo>
                  <a:lnTo>
                    <a:pt x="52" y="418"/>
                  </a:lnTo>
                  <a:lnTo>
                    <a:pt x="44" y="427"/>
                  </a:lnTo>
                  <a:lnTo>
                    <a:pt x="25" y="456"/>
                  </a:lnTo>
                  <a:lnTo>
                    <a:pt x="0" y="496"/>
                  </a:lnTo>
                  <a:lnTo>
                    <a:pt x="34" y="523"/>
                  </a:lnTo>
                  <a:lnTo>
                    <a:pt x="34" y="523"/>
                  </a:lnTo>
                  <a:lnTo>
                    <a:pt x="46" y="530"/>
                  </a:lnTo>
                  <a:lnTo>
                    <a:pt x="55" y="537"/>
                  </a:lnTo>
                  <a:lnTo>
                    <a:pt x="60" y="541"/>
                  </a:lnTo>
                  <a:lnTo>
                    <a:pt x="62" y="546"/>
                  </a:lnTo>
                  <a:lnTo>
                    <a:pt x="62" y="546"/>
                  </a:lnTo>
                  <a:lnTo>
                    <a:pt x="70" y="548"/>
                  </a:lnTo>
                  <a:lnTo>
                    <a:pt x="78" y="552"/>
                  </a:lnTo>
                  <a:lnTo>
                    <a:pt x="88" y="557"/>
                  </a:lnTo>
                  <a:lnTo>
                    <a:pt x="88" y="557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0" name="Freeform 187"/>
            <p:cNvSpPr>
              <a:spLocks/>
            </p:cNvSpPr>
            <p:nvPr/>
          </p:nvSpPr>
          <p:spPr bwMode="auto">
            <a:xfrm>
              <a:off x="1989138" y="2762250"/>
              <a:ext cx="2073275" cy="1827213"/>
            </a:xfrm>
            <a:custGeom>
              <a:avLst/>
              <a:gdLst>
                <a:gd name="T0" fmla="*/ 25 w 1306"/>
                <a:gd name="T1" fmla="*/ 350 h 1151"/>
                <a:gd name="T2" fmla="*/ 39 w 1306"/>
                <a:gd name="T3" fmla="*/ 384 h 1151"/>
                <a:gd name="T4" fmla="*/ 65 w 1306"/>
                <a:gd name="T5" fmla="*/ 434 h 1151"/>
                <a:gd name="T6" fmla="*/ 97 w 1306"/>
                <a:gd name="T7" fmla="*/ 441 h 1151"/>
                <a:gd name="T8" fmla="*/ 123 w 1306"/>
                <a:gd name="T9" fmla="*/ 434 h 1151"/>
                <a:gd name="T10" fmla="*/ 130 w 1306"/>
                <a:gd name="T11" fmla="*/ 515 h 1151"/>
                <a:gd name="T12" fmla="*/ 128 w 1306"/>
                <a:gd name="T13" fmla="*/ 660 h 1151"/>
                <a:gd name="T14" fmla="*/ 112 w 1306"/>
                <a:gd name="T15" fmla="*/ 741 h 1151"/>
                <a:gd name="T16" fmla="*/ 236 w 1306"/>
                <a:gd name="T17" fmla="*/ 875 h 1151"/>
                <a:gd name="T18" fmla="*/ 270 w 1306"/>
                <a:gd name="T19" fmla="*/ 960 h 1151"/>
                <a:gd name="T20" fmla="*/ 604 w 1306"/>
                <a:gd name="T21" fmla="*/ 1025 h 1151"/>
                <a:gd name="T22" fmla="*/ 810 w 1306"/>
                <a:gd name="T23" fmla="*/ 868 h 1151"/>
                <a:gd name="T24" fmla="*/ 1011 w 1306"/>
                <a:gd name="T25" fmla="*/ 706 h 1151"/>
                <a:gd name="T26" fmla="*/ 1055 w 1306"/>
                <a:gd name="T27" fmla="*/ 766 h 1151"/>
                <a:gd name="T28" fmla="*/ 1126 w 1306"/>
                <a:gd name="T29" fmla="*/ 835 h 1151"/>
                <a:gd name="T30" fmla="*/ 1306 w 1306"/>
                <a:gd name="T31" fmla="*/ 710 h 1151"/>
                <a:gd name="T32" fmla="*/ 1254 w 1306"/>
                <a:gd name="T33" fmla="*/ 612 h 1151"/>
                <a:gd name="T34" fmla="*/ 1172 w 1306"/>
                <a:gd name="T35" fmla="*/ 559 h 1151"/>
                <a:gd name="T36" fmla="*/ 1162 w 1306"/>
                <a:gd name="T37" fmla="*/ 511 h 1151"/>
                <a:gd name="T38" fmla="*/ 1094 w 1306"/>
                <a:gd name="T39" fmla="*/ 463 h 1151"/>
                <a:gd name="T40" fmla="*/ 1102 w 1306"/>
                <a:gd name="T41" fmla="*/ 445 h 1151"/>
                <a:gd name="T42" fmla="*/ 1086 w 1306"/>
                <a:gd name="T43" fmla="*/ 380 h 1151"/>
                <a:gd name="T44" fmla="*/ 1109 w 1306"/>
                <a:gd name="T45" fmla="*/ 349 h 1151"/>
                <a:gd name="T46" fmla="*/ 1155 w 1306"/>
                <a:gd name="T47" fmla="*/ 325 h 1151"/>
                <a:gd name="T48" fmla="*/ 1139 w 1306"/>
                <a:gd name="T49" fmla="*/ 263 h 1151"/>
                <a:gd name="T50" fmla="*/ 1109 w 1306"/>
                <a:gd name="T51" fmla="*/ 211 h 1151"/>
                <a:gd name="T52" fmla="*/ 1091 w 1306"/>
                <a:gd name="T53" fmla="*/ 174 h 1151"/>
                <a:gd name="T54" fmla="*/ 1083 w 1306"/>
                <a:gd name="T55" fmla="*/ 153 h 1151"/>
                <a:gd name="T56" fmla="*/ 1105 w 1306"/>
                <a:gd name="T57" fmla="*/ 138 h 1151"/>
                <a:gd name="T58" fmla="*/ 1090 w 1306"/>
                <a:gd name="T59" fmla="*/ 96 h 1151"/>
                <a:gd name="T60" fmla="*/ 1061 w 1306"/>
                <a:gd name="T61" fmla="*/ 91 h 1151"/>
                <a:gd name="T62" fmla="*/ 1041 w 1306"/>
                <a:gd name="T63" fmla="*/ 46 h 1151"/>
                <a:gd name="T64" fmla="*/ 995 w 1306"/>
                <a:gd name="T65" fmla="*/ 101 h 1151"/>
                <a:gd name="T66" fmla="*/ 844 w 1306"/>
                <a:gd name="T67" fmla="*/ 145 h 1151"/>
                <a:gd name="T68" fmla="*/ 807 w 1306"/>
                <a:gd name="T69" fmla="*/ 134 h 1151"/>
                <a:gd name="T70" fmla="*/ 769 w 1306"/>
                <a:gd name="T71" fmla="*/ 173 h 1151"/>
                <a:gd name="T72" fmla="*/ 753 w 1306"/>
                <a:gd name="T73" fmla="*/ 161 h 1151"/>
                <a:gd name="T74" fmla="*/ 653 w 1306"/>
                <a:gd name="T75" fmla="*/ 93 h 1151"/>
                <a:gd name="T76" fmla="*/ 647 w 1306"/>
                <a:gd name="T77" fmla="*/ 57 h 1151"/>
                <a:gd name="T78" fmla="*/ 612 w 1306"/>
                <a:gd name="T79" fmla="*/ 36 h 1151"/>
                <a:gd name="T80" fmla="*/ 581 w 1306"/>
                <a:gd name="T81" fmla="*/ 44 h 1151"/>
                <a:gd name="T82" fmla="*/ 552 w 1306"/>
                <a:gd name="T83" fmla="*/ 35 h 1151"/>
                <a:gd name="T84" fmla="*/ 522 w 1306"/>
                <a:gd name="T85" fmla="*/ 71 h 1151"/>
                <a:gd name="T86" fmla="*/ 480 w 1306"/>
                <a:gd name="T87" fmla="*/ 31 h 1151"/>
                <a:gd name="T88" fmla="*/ 450 w 1306"/>
                <a:gd name="T89" fmla="*/ 31 h 1151"/>
                <a:gd name="T90" fmla="*/ 426 w 1306"/>
                <a:gd name="T91" fmla="*/ 48 h 1151"/>
                <a:gd name="T92" fmla="*/ 394 w 1306"/>
                <a:gd name="T93" fmla="*/ 33 h 1151"/>
                <a:gd name="T94" fmla="*/ 342 w 1306"/>
                <a:gd name="T95" fmla="*/ 87 h 1151"/>
                <a:gd name="T96" fmla="*/ 267 w 1306"/>
                <a:gd name="T97" fmla="*/ 84 h 1151"/>
                <a:gd name="T98" fmla="*/ 231 w 1306"/>
                <a:gd name="T99" fmla="*/ 57 h 1151"/>
                <a:gd name="T100" fmla="*/ 220 w 1306"/>
                <a:gd name="T101" fmla="*/ 31 h 1151"/>
                <a:gd name="T102" fmla="*/ 196 w 1306"/>
                <a:gd name="T103" fmla="*/ 13 h 1151"/>
                <a:gd name="T104" fmla="*/ 165 w 1306"/>
                <a:gd name="T105" fmla="*/ 8 h 1151"/>
                <a:gd name="T106" fmla="*/ 184 w 1306"/>
                <a:gd name="T107" fmla="*/ 38 h 1151"/>
                <a:gd name="T108" fmla="*/ 166 w 1306"/>
                <a:gd name="T109" fmla="*/ 91 h 1151"/>
                <a:gd name="T110" fmla="*/ 131 w 1306"/>
                <a:gd name="T111" fmla="*/ 152 h 1151"/>
                <a:gd name="T112" fmla="*/ 140 w 1306"/>
                <a:gd name="T113" fmla="*/ 188 h 1151"/>
                <a:gd name="T114" fmla="*/ 118 w 1306"/>
                <a:gd name="T115" fmla="*/ 244 h 1151"/>
                <a:gd name="T116" fmla="*/ 96 w 1306"/>
                <a:gd name="T117" fmla="*/ 265 h 1151"/>
                <a:gd name="T118" fmla="*/ 32 w 1306"/>
                <a:gd name="T119" fmla="*/ 255 h 1151"/>
                <a:gd name="T120" fmla="*/ 13 w 1306"/>
                <a:gd name="T121" fmla="*/ 276 h 1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06" h="1151">
                  <a:moveTo>
                    <a:pt x="0" y="320"/>
                  </a:moveTo>
                  <a:lnTo>
                    <a:pt x="0" y="320"/>
                  </a:lnTo>
                  <a:lnTo>
                    <a:pt x="1" y="324"/>
                  </a:lnTo>
                  <a:lnTo>
                    <a:pt x="4" y="329"/>
                  </a:lnTo>
                  <a:lnTo>
                    <a:pt x="8" y="333"/>
                  </a:lnTo>
                  <a:lnTo>
                    <a:pt x="8" y="333"/>
                  </a:lnTo>
                  <a:lnTo>
                    <a:pt x="13" y="336"/>
                  </a:lnTo>
                  <a:lnTo>
                    <a:pt x="16" y="338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2" y="349"/>
                  </a:lnTo>
                  <a:lnTo>
                    <a:pt x="25" y="350"/>
                  </a:lnTo>
                  <a:lnTo>
                    <a:pt x="26" y="351"/>
                  </a:lnTo>
                  <a:lnTo>
                    <a:pt x="26" y="351"/>
                  </a:lnTo>
                  <a:lnTo>
                    <a:pt x="29" y="350"/>
                  </a:lnTo>
                  <a:lnTo>
                    <a:pt x="30" y="347"/>
                  </a:lnTo>
                  <a:lnTo>
                    <a:pt x="31" y="344"/>
                  </a:lnTo>
                  <a:lnTo>
                    <a:pt x="31" y="338"/>
                  </a:lnTo>
                  <a:lnTo>
                    <a:pt x="31" y="338"/>
                  </a:lnTo>
                  <a:lnTo>
                    <a:pt x="42" y="340"/>
                  </a:lnTo>
                  <a:lnTo>
                    <a:pt x="42" y="340"/>
                  </a:lnTo>
                  <a:lnTo>
                    <a:pt x="39" y="379"/>
                  </a:lnTo>
                  <a:lnTo>
                    <a:pt x="39" y="379"/>
                  </a:lnTo>
                  <a:lnTo>
                    <a:pt x="39" y="384"/>
                  </a:lnTo>
                  <a:lnTo>
                    <a:pt x="38" y="389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405"/>
                  </a:lnTo>
                  <a:lnTo>
                    <a:pt x="34" y="417"/>
                  </a:lnTo>
                  <a:lnTo>
                    <a:pt x="34" y="417"/>
                  </a:lnTo>
                  <a:lnTo>
                    <a:pt x="43" y="423"/>
                  </a:lnTo>
                  <a:lnTo>
                    <a:pt x="48" y="425"/>
                  </a:lnTo>
                  <a:lnTo>
                    <a:pt x="52" y="429"/>
                  </a:lnTo>
                  <a:lnTo>
                    <a:pt x="52" y="429"/>
                  </a:lnTo>
                  <a:lnTo>
                    <a:pt x="60" y="430"/>
                  </a:lnTo>
                  <a:lnTo>
                    <a:pt x="65" y="434"/>
                  </a:lnTo>
                  <a:lnTo>
                    <a:pt x="65" y="434"/>
                  </a:lnTo>
                  <a:lnTo>
                    <a:pt x="71" y="440"/>
                  </a:lnTo>
                  <a:lnTo>
                    <a:pt x="75" y="442"/>
                  </a:lnTo>
                  <a:lnTo>
                    <a:pt x="79" y="445"/>
                  </a:lnTo>
                  <a:lnTo>
                    <a:pt x="79" y="445"/>
                  </a:lnTo>
                  <a:lnTo>
                    <a:pt x="83" y="447"/>
                  </a:lnTo>
                  <a:lnTo>
                    <a:pt x="86" y="449"/>
                  </a:lnTo>
                  <a:lnTo>
                    <a:pt x="93" y="450"/>
                  </a:lnTo>
                  <a:lnTo>
                    <a:pt x="93" y="450"/>
                  </a:lnTo>
                  <a:lnTo>
                    <a:pt x="95" y="447"/>
                  </a:lnTo>
                  <a:lnTo>
                    <a:pt x="97" y="441"/>
                  </a:lnTo>
                  <a:lnTo>
                    <a:pt x="97" y="441"/>
                  </a:lnTo>
                  <a:lnTo>
                    <a:pt x="99" y="440"/>
                  </a:lnTo>
                  <a:lnTo>
                    <a:pt x="100" y="438"/>
                  </a:lnTo>
                  <a:lnTo>
                    <a:pt x="101" y="433"/>
                  </a:lnTo>
                  <a:lnTo>
                    <a:pt x="101" y="425"/>
                  </a:lnTo>
                  <a:lnTo>
                    <a:pt x="101" y="425"/>
                  </a:lnTo>
                  <a:lnTo>
                    <a:pt x="115" y="423"/>
                  </a:lnTo>
                  <a:lnTo>
                    <a:pt x="115" y="423"/>
                  </a:lnTo>
                  <a:lnTo>
                    <a:pt x="117" y="424"/>
                  </a:lnTo>
                  <a:lnTo>
                    <a:pt x="119" y="425"/>
                  </a:lnTo>
                  <a:lnTo>
                    <a:pt x="123" y="430"/>
                  </a:lnTo>
                  <a:lnTo>
                    <a:pt x="123" y="430"/>
                  </a:lnTo>
                  <a:lnTo>
                    <a:pt x="123" y="434"/>
                  </a:lnTo>
                  <a:lnTo>
                    <a:pt x="123" y="436"/>
                  </a:lnTo>
                  <a:lnTo>
                    <a:pt x="123" y="436"/>
                  </a:lnTo>
                  <a:lnTo>
                    <a:pt x="132" y="441"/>
                  </a:lnTo>
                  <a:lnTo>
                    <a:pt x="140" y="445"/>
                  </a:lnTo>
                  <a:lnTo>
                    <a:pt x="140" y="445"/>
                  </a:lnTo>
                  <a:lnTo>
                    <a:pt x="140" y="472"/>
                  </a:lnTo>
                  <a:lnTo>
                    <a:pt x="140" y="472"/>
                  </a:lnTo>
                  <a:lnTo>
                    <a:pt x="135" y="484"/>
                  </a:lnTo>
                  <a:lnTo>
                    <a:pt x="131" y="494"/>
                  </a:lnTo>
                  <a:lnTo>
                    <a:pt x="128" y="507"/>
                  </a:lnTo>
                  <a:lnTo>
                    <a:pt x="128" y="507"/>
                  </a:lnTo>
                  <a:lnTo>
                    <a:pt x="130" y="515"/>
                  </a:lnTo>
                  <a:lnTo>
                    <a:pt x="131" y="521"/>
                  </a:lnTo>
                  <a:lnTo>
                    <a:pt x="135" y="528"/>
                  </a:lnTo>
                  <a:lnTo>
                    <a:pt x="135" y="528"/>
                  </a:lnTo>
                  <a:lnTo>
                    <a:pt x="131" y="543"/>
                  </a:lnTo>
                  <a:lnTo>
                    <a:pt x="127" y="561"/>
                  </a:lnTo>
                  <a:lnTo>
                    <a:pt x="127" y="561"/>
                  </a:lnTo>
                  <a:lnTo>
                    <a:pt x="131" y="568"/>
                  </a:lnTo>
                  <a:lnTo>
                    <a:pt x="136" y="577"/>
                  </a:lnTo>
                  <a:lnTo>
                    <a:pt x="143" y="587"/>
                  </a:lnTo>
                  <a:lnTo>
                    <a:pt x="140" y="624"/>
                  </a:lnTo>
                  <a:lnTo>
                    <a:pt x="134" y="642"/>
                  </a:lnTo>
                  <a:lnTo>
                    <a:pt x="128" y="660"/>
                  </a:lnTo>
                  <a:lnTo>
                    <a:pt x="128" y="660"/>
                  </a:lnTo>
                  <a:lnTo>
                    <a:pt x="124" y="684"/>
                  </a:lnTo>
                  <a:lnTo>
                    <a:pt x="124" y="684"/>
                  </a:lnTo>
                  <a:lnTo>
                    <a:pt x="122" y="690"/>
                  </a:lnTo>
                  <a:lnTo>
                    <a:pt x="119" y="695"/>
                  </a:lnTo>
                  <a:lnTo>
                    <a:pt x="115" y="701"/>
                  </a:lnTo>
                  <a:lnTo>
                    <a:pt x="115" y="701"/>
                  </a:lnTo>
                  <a:lnTo>
                    <a:pt x="113" y="716"/>
                  </a:lnTo>
                  <a:lnTo>
                    <a:pt x="110" y="727"/>
                  </a:lnTo>
                  <a:lnTo>
                    <a:pt x="110" y="734"/>
                  </a:lnTo>
                  <a:lnTo>
                    <a:pt x="110" y="734"/>
                  </a:lnTo>
                  <a:lnTo>
                    <a:pt x="112" y="741"/>
                  </a:lnTo>
                  <a:lnTo>
                    <a:pt x="118" y="756"/>
                  </a:lnTo>
                  <a:lnTo>
                    <a:pt x="118" y="756"/>
                  </a:lnTo>
                  <a:lnTo>
                    <a:pt x="130" y="797"/>
                  </a:lnTo>
                  <a:lnTo>
                    <a:pt x="130" y="797"/>
                  </a:lnTo>
                  <a:lnTo>
                    <a:pt x="154" y="830"/>
                  </a:lnTo>
                  <a:lnTo>
                    <a:pt x="154" y="830"/>
                  </a:lnTo>
                  <a:lnTo>
                    <a:pt x="158" y="833"/>
                  </a:lnTo>
                  <a:lnTo>
                    <a:pt x="162" y="836"/>
                  </a:lnTo>
                  <a:lnTo>
                    <a:pt x="172" y="843"/>
                  </a:lnTo>
                  <a:lnTo>
                    <a:pt x="172" y="843"/>
                  </a:lnTo>
                  <a:lnTo>
                    <a:pt x="210" y="862"/>
                  </a:lnTo>
                  <a:lnTo>
                    <a:pt x="236" y="875"/>
                  </a:lnTo>
                  <a:lnTo>
                    <a:pt x="257" y="885"/>
                  </a:lnTo>
                  <a:lnTo>
                    <a:pt x="257" y="885"/>
                  </a:lnTo>
                  <a:lnTo>
                    <a:pt x="257" y="902"/>
                  </a:lnTo>
                  <a:lnTo>
                    <a:pt x="257" y="914"/>
                  </a:lnTo>
                  <a:lnTo>
                    <a:pt x="257" y="914"/>
                  </a:lnTo>
                  <a:lnTo>
                    <a:pt x="262" y="923"/>
                  </a:lnTo>
                  <a:lnTo>
                    <a:pt x="268" y="935"/>
                  </a:lnTo>
                  <a:lnTo>
                    <a:pt x="268" y="935"/>
                  </a:lnTo>
                  <a:lnTo>
                    <a:pt x="270" y="941"/>
                  </a:lnTo>
                  <a:lnTo>
                    <a:pt x="270" y="950"/>
                  </a:lnTo>
                  <a:lnTo>
                    <a:pt x="270" y="960"/>
                  </a:lnTo>
                  <a:lnTo>
                    <a:pt x="270" y="960"/>
                  </a:lnTo>
                  <a:lnTo>
                    <a:pt x="275" y="967"/>
                  </a:lnTo>
                  <a:lnTo>
                    <a:pt x="279" y="988"/>
                  </a:lnTo>
                  <a:lnTo>
                    <a:pt x="283" y="1006"/>
                  </a:lnTo>
                  <a:lnTo>
                    <a:pt x="281" y="1146"/>
                  </a:lnTo>
                  <a:lnTo>
                    <a:pt x="285" y="1144"/>
                  </a:lnTo>
                  <a:lnTo>
                    <a:pt x="535" y="1095"/>
                  </a:lnTo>
                  <a:lnTo>
                    <a:pt x="599" y="1151"/>
                  </a:lnTo>
                  <a:lnTo>
                    <a:pt x="599" y="1151"/>
                  </a:lnTo>
                  <a:lnTo>
                    <a:pt x="603" y="1036"/>
                  </a:lnTo>
                  <a:lnTo>
                    <a:pt x="603" y="1036"/>
                  </a:lnTo>
                  <a:lnTo>
                    <a:pt x="603" y="1029"/>
                  </a:lnTo>
                  <a:lnTo>
                    <a:pt x="604" y="1025"/>
                  </a:lnTo>
                  <a:lnTo>
                    <a:pt x="607" y="1023"/>
                  </a:lnTo>
                  <a:lnTo>
                    <a:pt x="612" y="1019"/>
                  </a:lnTo>
                  <a:lnTo>
                    <a:pt x="612" y="1019"/>
                  </a:lnTo>
                  <a:lnTo>
                    <a:pt x="682" y="940"/>
                  </a:lnTo>
                  <a:lnTo>
                    <a:pt x="682" y="940"/>
                  </a:lnTo>
                  <a:lnTo>
                    <a:pt x="687" y="933"/>
                  </a:lnTo>
                  <a:lnTo>
                    <a:pt x="704" y="918"/>
                  </a:lnTo>
                  <a:lnTo>
                    <a:pt x="730" y="896"/>
                  </a:lnTo>
                  <a:lnTo>
                    <a:pt x="763" y="868"/>
                  </a:lnTo>
                  <a:lnTo>
                    <a:pt x="763" y="868"/>
                  </a:lnTo>
                  <a:lnTo>
                    <a:pt x="787" y="868"/>
                  </a:lnTo>
                  <a:lnTo>
                    <a:pt x="810" y="868"/>
                  </a:lnTo>
                  <a:lnTo>
                    <a:pt x="810" y="868"/>
                  </a:lnTo>
                  <a:lnTo>
                    <a:pt x="814" y="830"/>
                  </a:lnTo>
                  <a:lnTo>
                    <a:pt x="814" y="830"/>
                  </a:lnTo>
                  <a:lnTo>
                    <a:pt x="822" y="831"/>
                  </a:lnTo>
                  <a:lnTo>
                    <a:pt x="837" y="833"/>
                  </a:lnTo>
                  <a:lnTo>
                    <a:pt x="855" y="836"/>
                  </a:lnTo>
                  <a:lnTo>
                    <a:pt x="863" y="837"/>
                  </a:lnTo>
                  <a:lnTo>
                    <a:pt x="870" y="836"/>
                  </a:lnTo>
                  <a:lnTo>
                    <a:pt x="870" y="836"/>
                  </a:lnTo>
                  <a:lnTo>
                    <a:pt x="933" y="705"/>
                  </a:lnTo>
                  <a:lnTo>
                    <a:pt x="933" y="705"/>
                  </a:lnTo>
                  <a:lnTo>
                    <a:pt x="1011" y="706"/>
                  </a:lnTo>
                  <a:lnTo>
                    <a:pt x="1011" y="706"/>
                  </a:lnTo>
                  <a:lnTo>
                    <a:pt x="1016" y="717"/>
                  </a:lnTo>
                  <a:lnTo>
                    <a:pt x="1022" y="726"/>
                  </a:lnTo>
                  <a:lnTo>
                    <a:pt x="1029" y="736"/>
                  </a:lnTo>
                  <a:lnTo>
                    <a:pt x="1034" y="748"/>
                  </a:lnTo>
                  <a:lnTo>
                    <a:pt x="1034" y="748"/>
                  </a:lnTo>
                  <a:lnTo>
                    <a:pt x="1038" y="757"/>
                  </a:lnTo>
                  <a:lnTo>
                    <a:pt x="1041" y="762"/>
                  </a:lnTo>
                  <a:lnTo>
                    <a:pt x="1042" y="765"/>
                  </a:lnTo>
                  <a:lnTo>
                    <a:pt x="1045" y="766"/>
                  </a:lnTo>
                  <a:lnTo>
                    <a:pt x="1055" y="766"/>
                  </a:lnTo>
                  <a:lnTo>
                    <a:pt x="1055" y="766"/>
                  </a:lnTo>
                  <a:lnTo>
                    <a:pt x="1081" y="798"/>
                  </a:lnTo>
                  <a:lnTo>
                    <a:pt x="1081" y="798"/>
                  </a:lnTo>
                  <a:lnTo>
                    <a:pt x="1086" y="805"/>
                  </a:lnTo>
                  <a:lnTo>
                    <a:pt x="1090" y="810"/>
                  </a:lnTo>
                  <a:lnTo>
                    <a:pt x="1090" y="815"/>
                  </a:lnTo>
                  <a:lnTo>
                    <a:pt x="1086" y="824"/>
                  </a:lnTo>
                  <a:lnTo>
                    <a:pt x="1086" y="824"/>
                  </a:lnTo>
                  <a:lnTo>
                    <a:pt x="1090" y="827"/>
                  </a:lnTo>
                  <a:lnTo>
                    <a:pt x="1094" y="828"/>
                  </a:lnTo>
                  <a:lnTo>
                    <a:pt x="1105" y="830"/>
                  </a:lnTo>
                  <a:lnTo>
                    <a:pt x="1120" y="832"/>
                  </a:lnTo>
                  <a:lnTo>
                    <a:pt x="1126" y="835"/>
                  </a:lnTo>
                  <a:lnTo>
                    <a:pt x="1133" y="837"/>
                  </a:lnTo>
                  <a:lnTo>
                    <a:pt x="1133" y="837"/>
                  </a:lnTo>
                  <a:lnTo>
                    <a:pt x="1143" y="827"/>
                  </a:lnTo>
                  <a:lnTo>
                    <a:pt x="1155" y="818"/>
                  </a:lnTo>
                  <a:lnTo>
                    <a:pt x="1179" y="802"/>
                  </a:lnTo>
                  <a:lnTo>
                    <a:pt x="1236" y="769"/>
                  </a:lnTo>
                  <a:lnTo>
                    <a:pt x="1236" y="769"/>
                  </a:lnTo>
                  <a:lnTo>
                    <a:pt x="1256" y="757"/>
                  </a:lnTo>
                  <a:lnTo>
                    <a:pt x="1269" y="749"/>
                  </a:lnTo>
                  <a:lnTo>
                    <a:pt x="1275" y="744"/>
                  </a:lnTo>
                  <a:lnTo>
                    <a:pt x="1284" y="736"/>
                  </a:lnTo>
                  <a:lnTo>
                    <a:pt x="1306" y="710"/>
                  </a:lnTo>
                  <a:lnTo>
                    <a:pt x="1306" y="710"/>
                  </a:lnTo>
                  <a:lnTo>
                    <a:pt x="1304" y="706"/>
                  </a:lnTo>
                  <a:lnTo>
                    <a:pt x="1297" y="700"/>
                  </a:lnTo>
                  <a:lnTo>
                    <a:pt x="1293" y="694"/>
                  </a:lnTo>
                  <a:lnTo>
                    <a:pt x="1288" y="684"/>
                  </a:lnTo>
                  <a:lnTo>
                    <a:pt x="1283" y="671"/>
                  </a:lnTo>
                  <a:lnTo>
                    <a:pt x="1278" y="656"/>
                  </a:lnTo>
                  <a:lnTo>
                    <a:pt x="1278" y="656"/>
                  </a:lnTo>
                  <a:lnTo>
                    <a:pt x="1274" y="649"/>
                  </a:lnTo>
                  <a:lnTo>
                    <a:pt x="1269" y="642"/>
                  </a:lnTo>
                  <a:lnTo>
                    <a:pt x="1260" y="621"/>
                  </a:lnTo>
                  <a:lnTo>
                    <a:pt x="1254" y="612"/>
                  </a:lnTo>
                  <a:lnTo>
                    <a:pt x="1248" y="603"/>
                  </a:lnTo>
                  <a:lnTo>
                    <a:pt x="1240" y="595"/>
                  </a:lnTo>
                  <a:lnTo>
                    <a:pt x="1232" y="590"/>
                  </a:lnTo>
                  <a:lnTo>
                    <a:pt x="1232" y="590"/>
                  </a:lnTo>
                  <a:lnTo>
                    <a:pt x="1218" y="582"/>
                  </a:lnTo>
                  <a:lnTo>
                    <a:pt x="1210" y="578"/>
                  </a:lnTo>
                  <a:lnTo>
                    <a:pt x="1208" y="576"/>
                  </a:lnTo>
                  <a:lnTo>
                    <a:pt x="1205" y="572"/>
                  </a:lnTo>
                  <a:lnTo>
                    <a:pt x="1205" y="572"/>
                  </a:lnTo>
                  <a:lnTo>
                    <a:pt x="1195" y="568"/>
                  </a:lnTo>
                  <a:lnTo>
                    <a:pt x="1183" y="564"/>
                  </a:lnTo>
                  <a:lnTo>
                    <a:pt x="1172" y="559"/>
                  </a:lnTo>
                  <a:lnTo>
                    <a:pt x="1164" y="554"/>
                  </a:lnTo>
                  <a:lnTo>
                    <a:pt x="1164" y="554"/>
                  </a:lnTo>
                  <a:lnTo>
                    <a:pt x="1161" y="546"/>
                  </a:lnTo>
                  <a:lnTo>
                    <a:pt x="1161" y="538"/>
                  </a:lnTo>
                  <a:lnTo>
                    <a:pt x="1161" y="538"/>
                  </a:lnTo>
                  <a:lnTo>
                    <a:pt x="1168" y="532"/>
                  </a:lnTo>
                  <a:lnTo>
                    <a:pt x="1170" y="528"/>
                  </a:lnTo>
                  <a:lnTo>
                    <a:pt x="1172" y="524"/>
                  </a:lnTo>
                  <a:lnTo>
                    <a:pt x="1172" y="524"/>
                  </a:lnTo>
                  <a:lnTo>
                    <a:pt x="1170" y="517"/>
                  </a:lnTo>
                  <a:lnTo>
                    <a:pt x="1166" y="513"/>
                  </a:lnTo>
                  <a:lnTo>
                    <a:pt x="1162" y="511"/>
                  </a:lnTo>
                  <a:lnTo>
                    <a:pt x="1157" y="509"/>
                  </a:lnTo>
                  <a:lnTo>
                    <a:pt x="1157" y="509"/>
                  </a:lnTo>
                  <a:lnTo>
                    <a:pt x="1152" y="511"/>
                  </a:lnTo>
                  <a:lnTo>
                    <a:pt x="1146" y="516"/>
                  </a:lnTo>
                  <a:lnTo>
                    <a:pt x="1138" y="521"/>
                  </a:lnTo>
                  <a:lnTo>
                    <a:pt x="1138" y="521"/>
                  </a:lnTo>
                  <a:lnTo>
                    <a:pt x="1103" y="489"/>
                  </a:lnTo>
                  <a:lnTo>
                    <a:pt x="1103" y="489"/>
                  </a:lnTo>
                  <a:lnTo>
                    <a:pt x="1099" y="481"/>
                  </a:lnTo>
                  <a:lnTo>
                    <a:pt x="1096" y="473"/>
                  </a:lnTo>
                  <a:lnTo>
                    <a:pt x="1094" y="463"/>
                  </a:lnTo>
                  <a:lnTo>
                    <a:pt x="1094" y="463"/>
                  </a:lnTo>
                  <a:lnTo>
                    <a:pt x="1092" y="460"/>
                  </a:lnTo>
                  <a:lnTo>
                    <a:pt x="1090" y="458"/>
                  </a:lnTo>
                  <a:lnTo>
                    <a:pt x="1081" y="449"/>
                  </a:lnTo>
                  <a:lnTo>
                    <a:pt x="1081" y="449"/>
                  </a:lnTo>
                  <a:lnTo>
                    <a:pt x="1081" y="445"/>
                  </a:lnTo>
                  <a:lnTo>
                    <a:pt x="1083" y="443"/>
                  </a:lnTo>
                  <a:lnTo>
                    <a:pt x="1087" y="443"/>
                  </a:lnTo>
                  <a:lnTo>
                    <a:pt x="1090" y="443"/>
                  </a:lnTo>
                  <a:lnTo>
                    <a:pt x="1096" y="445"/>
                  </a:lnTo>
                  <a:lnTo>
                    <a:pt x="1099" y="445"/>
                  </a:lnTo>
                  <a:lnTo>
                    <a:pt x="1102" y="445"/>
                  </a:lnTo>
                  <a:lnTo>
                    <a:pt x="1102" y="445"/>
                  </a:lnTo>
                  <a:lnTo>
                    <a:pt x="1100" y="441"/>
                  </a:lnTo>
                  <a:lnTo>
                    <a:pt x="1099" y="436"/>
                  </a:lnTo>
                  <a:lnTo>
                    <a:pt x="1092" y="420"/>
                  </a:lnTo>
                  <a:lnTo>
                    <a:pt x="1083" y="405"/>
                  </a:lnTo>
                  <a:lnTo>
                    <a:pt x="1076" y="393"/>
                  </a:lnTo>
                  <a:lnTo>
                    <a:pt x="1076" y="393"/>
                  </a:lnTo>
                  <a:lnTo>
                    <a:pt x="1077" y="389"/>
                  </a:lnTo>
                  <a:lnTo>
                    <a:pt x="1080" y="385"/>
                  </a:lnTo>
                  <a:lnTo>
                    <a:pt x="1082" y="380"/>
                  </a:lnTo>
                  <a:lnTo>
                    <a:pt x="1083" y="379"/>
                  </a:lnTo>
                  <a:lnTo>
                    <a:pt x="1083" y="379"/>
                  </a:lnTo>
                  <a:lnTo>
                    <a:pt x="1086" y="380"/>
                  </a:lnTo>
                  <a:lnTo>
                    <a:pt x="1090" y="382"/>
                  </a:lnTo>
                  <a:lnTo>
                    <a:pt x="1094" y="384"/>
                  </a:lnTo>
                  <a:lnTo>
                    <a:pt x="1095" y="384"/>
                  </a:lnTo>
                  <a:lnTo>
                    <a:pt x="1096" y="382"/>
                  </a:lnTo>
                  <a:lnTo>
                    <a:pt x="1096" y="382"/>
                  </a:lnTo>
                  <a:lnTo>
                    <a:pt x="1096" y="379"/>
                  </a:lnTo>
                  <a:lnTo>
                    <a:pt x="1096" y="372"/>
                  </a:lnTo>
                  <a:lnTo>
                    <a:pt x="1095" y="359"/>
                  </a:lnTo>
                  <a:lnTo>
                    <a:pt x="1095" y="359"/>
                  </a:lnTo>
                  <a:lnTo>
                    <a:pt x="1102" y="355"/>
                  </a:lnTo>
                  <a:lnTo>
                    <a:pt x="1109" y="349"/>
                  </a:lnTo>
                  <a:lnTo>
                    <a:pt x="1109" y="349"/>
                  </a:lnTo>
                  <a:lnTo>
                    <a:pt x="1112" y="344"/>
                  </a:lnTo>
                  <a:lnTo>
                    <a:pt x="1113" y="338"/>
                  </a:lnTo>
                  <a:lnTo>
                    <a:pt x="1114" y="329"/>
                  </a:lnTo>
                  <a:lnTo>
                    <a:pt x="1116" y="325"/>
                  </a:lnTo>
                  <a:lnTo>
                    <a:pt x="1118" y="322"/>
                  </a:lnTo>
                  <a:lnTo>
                    <a:pt x="1125" y="316"/>
                  </a:lnTo>
                  <a:lnTo>
                    <a:pt x="1133" y="313"/>
                  </a:lnTo>
                  <a:lnTo>
                    <a:pt x="1133" y="313"/>
                  </a:lnTo>
                  <a:lnTo>
                    <a:pt x="1135" y="313"/>
                  </a:lnTo>
                  <a:lnTo>
                    <a:pt x="1138" y="314"/>
                  </a:lnTo>
                  <a:lnTo>
                    <a:pt x="1144" y="318"/>
                  </a:lnTo>
                  <a:lnTo>
                    <a:pt x="1155" y="325"/>
                  </a:lnTo>
                  <a:lnTo>
                    <a:pt x="1155" y="325"/>
                  </a:lnTo>
                  <a:lnTo>
                    <a:pt x="1155" y="318"/>
                  </a:lnTo>
                  <a:lnTo>
                    <a:pt x="1156" y="314"/>
                  </a:lnTo>
                  <a:lnTo>
                    <a:pt x="1159" y="310"/>
                  </a:lnTo>
                  <a:lnTo>
                    <a:pt x="1160" y="305"/>
                  </a:lnTo>
                  <a:lnTo>
                    <a:pt x="1160" y="305"/>
                  </a:lnTo>
                  <a:lnTo>
                    <a:pt x="1156" y="302"/>
                  </a:lnTo>
                  <a:lnTo>
                    <a:pt x="1153" y="298"/>
                  </a:lnTo>
                  <a:lnTo>
                    <a:pt x="1149" y="285"/>
                  </a:lnTo>
                  <a:lnTo>
                    <a:pt x="1149" y="285"/>
                  </a:lnTo>
                  <a:lnTo>
                    <a:pt x="1143" y="274"/>
                  </a:lnTo>
                  <a:lnTo>
                    <a:pt x="1139" y="263"/>
                  </a:lnTo>
                  <a:lnTo>
                    <a:pt x="1131" y="245"/>
                  </a:lnTo>
                  <a:lnTo>
                    <a:pt x="1131" y="245"/>
                  </a:lnTo>
                  <a:lnTo>
                    <a:pt x="1129" y="244"/>
                  </a:lnTo>
                  <a:lnTo>
                    <a:pt x="1127" y="243"/>
                  </a:lnTo>
                  <a:lnTo>
                    <a:pt x="1126" y="236"/>
                  </a:lnTo>
                  <a:lnTo>
                    <a:pt x="1124" y="230"/>
                  </a:lnTo>
                  <a:lnTo>
                    <a:pt x="1122" y="227"/>
                  </a:lnTo>
                  <a:lnTo>
                    <a:pt x="1121" y="226"/>
                  </a:lnTo>
                  <a:lnTo>
                    <a:pt x="1121" y="226"/>
                  </a:lnTo>
                  <a:lnTo>
                    <a:pt x="1113" y="218"/>
                  </a:lnTo>
                  <a:lnTo>
                    <a:pt x="1111" y="215"/>
                  </a:lnTo>
                  <a:lnTo>
                    <a:pt x="1109" y="211"/>
                  </a:lnTo>
                  <a:lnTo>
                    <a:pt x="1109" y="208"/>
                  </a:lnTo>
                  <a:lnTo>
                    <a:pt x="1111" y="204"/>
                  </a:lnTo>
                  <a:lnTo>
                    <a:pt x="1111" y="204"/>
                  </a:lnTo>
                  <a:lnTo>
                    <a:pt x="1111" y="198"/>
                  </a:lnTo>
                  <a:lnTo>
                    <a:pt x="1109" y="188"/>
                  </a:lnTo>
                  <a:lnTo>
                    <a:pt x="1105" y="174"/>
                  </a:lnTo>
                  <a:lnTo>
                    <a:pt x="1105" y="174"/>
                  </a:lnTo>
                  <a:lnTo>
                    <a:pt x="1105" y="173"/>
                  </a:lnTo>
                  <a:lnTo>
                    <a:pt x="1103" y="171"/>
                  </a:lnTo>
                  <a:lnTo>
                    <a:pt x="1099" y="171"/>
                  </a:lnTo>
                  <a:lnTo>
                    <a:pt x="1091" y="174"/>
                  </a:lnTo>
                  <a:lnTo>
                    <a:pt x="1091" y="174"/>
                  </a:lnTo>
                  <a:lnTo>
                    <a:pt x="1089" y="175"/>
                  </a:lnTo>
                  <a:lnTo>
                    <a:pt x="1085" y="176"/>
                  </a:lnTo>
                  <a:lnTo>
                    <a:pt x="1083" y="175"/>
                  </a:lnTo>
                  <a:lnTo>
                    <a:pt x="1082" y="175"/>
                  </a:lnTo>
                  <a:lnTo>
                    <a:pt x="1080" y="171"/>
                  </a:lnTo>
                  <a:lnTo>
                    <a:pt x="1080" y="167"/>
                  </a:lnTo>
                  <a:lnTo>
                    <a:pt x="1080" y="167"/>
                  </a:lnTo>
                  <a:lnTo>
                    <a:pt x="1085" y="165"/>
                  </a:lnTo>
                  <a:lnTo>
                    <a:pt x="1086" y="162"/>
                  </a:lnTo>
                  <a:lnTo>
                    <a:pt x="1086" y="161"/>
                  </a:lnTo>
                  <a:lnTo>
                    <a:pt x="1086" y="157"/>
                  </a:lnTo>
                  <a:lnTo>
                    <a:pt x="1083" y="153"/>
                  </a:lnTo>
                  <a:lnTo>
                    <a:pt x="1081" y="147"/>
                  </a:lnTo>
                  <a:lnTo>
                    <a:pt x="1081" y="145"/>
                  </a:lnTo>
                  <a:lnTo>
                    <a:pt x="1081" y="144"/>
                  </a:lnTo>
                  <a:lnTo>
                    <a:pt x="1086" y="145"/>
                  </a:lnTo>
                  <a:lnTo>
                    <a:pt x="1086" y="145"/>
                  </a:lnTo>
                  <a:lnTo>
                    <a:pt x="1089" y="144"/>
                  </a:lnTo>
                  <a:lnTo>
                    <a:pt x="1090" y="143"/>
                  </a:lnTo>
                  <a:lnTo>
                    <a:pt x="1090" y="140"/>
                  </a:lnTo>
                  <a:lnTo>
                    <a:pt x="1091" y="139"/>
                  </a:lnTo>
                  <a:lnTo>
                    <a:pt x="1094" y="138"/>
                  </a:lnTo>
                  <a:lnTo>
                    <a:pt x="1105" y="138"/>
                  </a:lnTo>
                  <a:lnTo>
                    <a:pt x="1105" y="138"/>
                  </a:lnTo>
                  <a:lnTo>
                    <a:pt x="1103" y="134"/>
                  </a:lnTo>
                  <a:lnTo>
                    <a:pt x="1098" y="127"/>
                  </a:lnTo>
                  <a:lnTo>
                    <a:pt x="1091" y="121"/>
                  </a:lnTo>
                  <a:lnTo>
                    <a:pt x="1087" y="117"/>
                  </a:lnTo>
                  <a:lnTo>
                    <a:pt x="1087" y="117"/>
                  </a:lnTo>
                  <a:lnTo>
                    <a:pt x="1083" y="113"/>
                  </a:lnTo>
                  <a:lnTo>
                    <a:pt x="1082" y="108"/>
                  </a:lnTo>
                  <a:lnTo>
                    <a:pt x="1082" y="106"/>
                  </a:lnTo>
                  <a:lnTo>
                    <a:pt x="1083" y="104"/>
                  </a:lnTo>
                  <a:lnTo>
                    <a:pt x="1089" y="100"/>
                  </a:lnTo>
                  <a:lnTo>
                    <a:pt x="1089" y="100"/>
                  </a:lnTo>
                  <a:lnTo>
                    <a:pt x="1090" y="96"/>
                  </a:lnTo>
                  <a:lnTo>
                    <a:pt x="1089" y="92"/>
                  </a:lnTo>
                  <a:lnTo>
                    <a:pt x="1087" y="90"/>
                  </a:lnTo>
                  <a:lnTo>
                    <a:pt x="1085" y="87"/>
                  </a:lnTo>
                  <a:lnTo>
                    <a:pt x="1078" y="83"/>
                  </a:lnTo>
                  <a:lnTo>
                    <a:pt x="1074" y="83"/>
                  </a:lnTo>
                  <a:lnTo>
                    <a:pt x="1072" y="83"/>
                  </a:lnTo>
                  <a:lnTo>
                    <a:pt x="1072" y="83"/>
                  </a:lnTo>
                  <a:lnTo>
                    <a:pt x="1068" y="83"/>
                  </a:lnTo>
                  <a:lnTo>
                    <a:pt x="1067" y="84"/>
                  </a:lnTo>
                  <a:lnTo>
                    <a:pt x="1065" y="91"/>
                  </a:lnTo>
                  <a:lnTo>
                    <a:pt x="1065" y="91"/>
                  </a:lnTo>
                  <a:lnTo>
                    <a:pt x="1061" y="91"/>
                  </a:lnTo>
                  <a:lnTo>
                    <a:pt x="1059" y="90"/>
                  </a:lnTo>
                  <a:lnTo>
                    <a:pt x="1057" y="88"/>
                  </a:lnTo>
                  <a:lnTo>
                    <a:pt x="1057" y="84"/>
                  </a:lnTo>
                  <a:lnTo>
                    <a:pt x="1057" y="84"/>
                  </a:lnTo>
                  <a:lnTo>
                    <a:pt x="1054" y="81"/>
                  </a:lnTo>
                  <a:lnTo>
                    <a:pt x="1051" y="75"/>
                  </a:lnTo>
                  <a:lnTo>
                    <a:pt x="1050" y="64"/>
                  </a:lnTo>
                  <a:lnTo>
                    <a:pt x="1048" y="52"/>
                  </a:lnTo>
                  <a:lnTo>
                    <a:pt x="1046" y="48"/>
                  </a:lnTo>
                  <a:lnTo>
                    <a:pt x="1043" y="46"/>
                  </a:lnTo>
                  <a:lnTo>
                    <a:pt x="1043" y="46"/>
                  </a:lnTo>
                  <a:lnTo>
                    <a:pt x="1041" y="46"/>
                  </a:lnTo>
                  <a:lnTo>
                    <a:pt x="1039" y="47"/>
                  </a:lnTo>
                  <a:lnTo>
                    <a:pt x="1035" y="49"/>
                  </a:lnTo>
                  <a:lnTo>
                    <a:pt x="1032" y="52"/>
                  </a:lnTo>
                  <a:lnTo>
                    <a:pt x="1029" y="53"/>
                  </a:lnTo>
                  <a:lnTo>
                    <a:pt x="1026" y="53"/>
                  </a:lnTo>
                  <a:lnTo>
                    <a:pt x="1026" y="53"/>
                  </a:lnTo>
                  <a:lnTo>
                    <a:pt x="1022" y="55"/>
                  </a:lnTo>
                  <a:lnTo>
                    <a:pt x="1016" y="57"/>
                  </a:lnTo>
                  <a:lnTo>
                    <a:pt x="1006" y="64"/>
                  </a:lnTo>
                  <a:lnTo>
                    <a:pt x="1006" y="64"/>
                  </a:lnTo>
                  <a:lnTo>
                    <a:pt x="1002" y="75"/>
                  </a:lnTo>
                  <a:lnTo>
                    <a:pt x="995" y="101"/>
                  </a:lnTo>
                  <a:lnTo>
                    <a:pt x="985" y="140"/>
                  </a:lnTo>
                  <a:lnTo>
                    <a:pt x="985" y="140"/>
                  </a:lnTo>
                  <a:lnTo>
                    <a:pt x="972" y="144"/>
                  </a:lnTo>
                  <a:lnTo>
                    <a:pt x="946" y="151"/>
                  </a:lnTo>
                  <a:lnTo>
                    <a:pt x="906" y="161"/>
                  </a:lnTo>
                  <a:lnTo>
                    <a:pt x="906" y="161"/>
                  </a:lnTo>
                  <a:lnTo>
                    <a:pt x="883" y="160"/>
                  </a:lnTo>
                  <a:lnTo>
                    <a:pt x="857" y="157"/>
                  </a:lnTo>
                  <a:lnTo>
                    <a:pt x="857" y="157"/>
                  </a:lnTo>
                  <a:lnTo>
                    <a:pt x="854" y="156"/>
                  </a:lnTo>
                  <a:lnTo>
                    <a:pt x="850" y="153"/>
                  </a:lnTo>
                  <a:lnTo>
                    <a:pt x="844" y="145"/>
                  </a:lnTo>
                  <a:lnTo>
                    <a:pt x="844" y="145"/>
                  </a:lnTo>
                  <a:lnTo>
                    <a:pt x="837" y="135"/>
                  </a:lnTo>
                  <a:lnTo>
                    <a:pt x="835" y="130"/>
                  </a:lnTo>
                  <a:lnTo>
                    <a:pt x="835" y="126"/>
                  </a:lnTo>
                  <a:lnTo>
                    <a:pt x="835" y="126"/>
                  </a:lnTo>
                  <a:lnTo>
                    <a:pt x="832" y="125"/>
                  </a:lnTo>
                  <a:lnTo>
                    <a:pt x="827" y="125"/>
                  </a:lnTo>
                  <a:lnTo>
                    <a:pt x="818" y="125"/>
                  </a:lnTo>
                  <a:lnTo>
                    <a:pt x="809" y="127"/>
                  </a:lnTo>
                  <a:lnTo>
                    <a:pt x="809" y="127"/>
                  </a:lnTo>
                  <a:lnTo>
                    <a:pt x="807" y="130"/>
                  </a:lnTo>
                  <a:lnTo>
                    <a:pt x="807" y="134"/>
                  </a:lnTo>
                  <a:lnTo>
                    <a:pt x="807" y="138"/>
                  </a:lnTo>
                  <a:lnTo>
                    <a:pt x="811" y="144"/>
                  </a:lnTo>
                  <a:lnTo>
                    <a:pt x="811" y="144"/>
                  </a:lnTo>
                  <a:lnTo>
                    <a:pt x="811" y="147"/>
                  </a:lnTo>
                  <a:lnTo>
                    <a:pt x="809" y="149"/>
                  </a:lnTo>
                  <a:lnTo>
                    <a:pt x="801" y="156"/>
                  </a:lnTo>
                  <a:lnTo>
                    <a:pt x="792" y="162"/>
                  </a:lnTo>
                  <a:lnTo>
                    <a:pt x="788" y="166"/>
                  </a:lnTo>
                  <a:lnTo>
                    <a:pt x="785" y="171"/>
                  </a:lnTo>
                  <a:lnTo>
                    <a:pt x="785" y="171"/>
                  </a:lnTo>
                  <a:lnTo>
                    <a:pt x="778" y="173"/>
                  </a:lnTo>
                  <a:lnTo>
                    <a:pt x="769" y="173"/>
                  </a:lnTo>
                  <a:lnTo>
                    <a:pt x="759" y="174"/>
                  </a:lnTo>
                  <a:lnTo>
                    <a:pt x="752" y="175"/>
                  </a:lnTo>
                  <a:lnTo>
                    <a:pt x="752" y="175"/>
                  </a:lnTo>
                  <a:lnTo>
                    <a:pt x="746" y="174"/>
                  </a:lnTo>
                  <a:lnTo>
                    <a:pt x="744" y="171"/>
                  </a:lnTo>
                  <a:lnTo>
                    <a:pt x="743" y="169"/>
                  </a:lnTo>
                  <a:lnTo>
                    <a:pt x="745" y="165"/>
                  </a:lnTo>
                  <a:lnTo>
                    <a:pt x="745" y="165"/>
                  </a:lnTo>
                  <a:lnTo>
                    <a:pt x="748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1"/>
                  </a:lnTo>
                  <a:lnTo>
                    <a:pt x="753" y="158"/>
                  </a:lnTo>
                  <a:lnTo>
                    <a:pt x="752" y="154"/>
                  </a:lnTo>
                  <a:lnTo>
                    <a:pt x="752" y="154"/>
                  </a:lnTo>
                  <a:lnTo>
                    <a:pt x="739" y="149"/>
                  </a:lnTo>
                  <a:lnTo>
                    <a:pt x="713" y="141"/>
                  </a:lnTo>
                  <a:lnTo>
                    <a:pt x="673" y="128"/>
                  </a:lnTo>
                  <a:lnTo>
                    <a:pt x="673" y="128"/>
                  </a:lnTo>
                  <a:lnTo>
                    <a:pt x="669" y="123"/>
                  </a:lnTo>
                  <a:lnTo>
                    <a:pt x="665" y="112"/>
                  </a:lnTo>
                  <a:lnTo>
                    <a:pt x="657" y="95"/>
                  </a:lnTo>
                  <a:lnTo>
                    <a:pt x="657" y="95"/>
                  </a:lnTo>
                  <a:lnTo>
                    <a:pt x="653" y="93"/>
                  </a:lnTo>
                  <a:lnTo>
                    <a:pt x="645" y="91"/>
                  </a:lnTo>
                  <a:lnTo>
                    <a:pt x="644" y="88"/>
                  </a:lnTo>
                  <a:lnTo>
                    <a:pt x="643" y="86"/>
                  </a:lnTo>
                  <a:lnTo>
                    <a:pt x="645" y="83"/>
                  </a:lnTo>
                  <a:lnTo>
                    <a:pt x="651" y="79"/>
                  </a:lnTo>
                  <a:lnTo>
                    <a:pt x="651" y="79"/>
                  </a:lnTo>
                  <a:lnTo>
                    <a:pt x="653" y="75"/>
                  </a:lnTo>
                  <a:lnTo>
                    <a:pt x="654" y="71"/>
                  </a:lnTo>
                  <a:lnTo>
                    <a:pt x="653" y="69"/>
                  </a:lnTo>
                  <a:lnTo>
                    <a:pt x="652" y="65"/>
                  </a:lnTo>
                  <a:lnTo>
                    <a:pt x="648" y="60"/>
                  </a:lnTo>
                  <a:lnTo>
                    <a:pt x="647" y="57"/>
                  </a:lnTo>
                  <a:lnTo>
                    <a:pt x="645" y="55"/>
                  </a:lnTo>
                  <a:lnTo>
                    <a:pt x="645" y="55"/>
                  </a:lnTo>
                  <a:lnTo>
                    <a:pt x="640" y="53"/>
                  </a:lnTo>
                  <a:lnTo>
                    <a:pt x="632" y="52"/>
                  </a:lnTo>
                  <a:lnTo>
                    <a:pt x="629" y="49"/>
                  </a:lnTo>
                  <a:lnTo>
                    <a:pt x="625" y="46"/>
                  </a:lnTo>
                  <a:lnTo>
                    <a:pt x="623" y="42"/>
                  </a:lnTo>
                  <a:lnTo>
                    <a:pt x="622" y="35"/>
                  </a:lnTo>
                  <a:lnTo>
                    <a:pt x="622" y="35"/>
                  </a:lnTo>
                  <a:lnTo>
                    <a:pt x="619" y="35"/>
                  </a:lnTo>
                  <a:lnTo>
                    <a:pt x="616" y="35"/>
                  </a:lnTo>
                  <a:lnTo>
                    <a:pt x="612" y="36"/>
                  </a:lnTo>
                  <a:lnTo>
                    <a:pt x="609" y="40"/>
                  </a:lnTo>
                  <a:lnTo>
                    <a:pt x="609" y="40"/>
                  </a:lnTo>
                  <a:lnTo>
                    <a:pt x="605" y="46"/>
                  </a:lnTo>
                  <a:lnTo>
                    <a:pt x="599" y="52"/>
                  </a:lnTo>
                  <a:lnTo>
                    <a:pt x="596" y="53"/>
                  </a:lnTo>
                  <a:lnTo>
                    <a:pt x="594" y="52"/>
                  </a:lnTo>
                  <a:lnTo>
                    <a:pt x="592" y="48"/>
                  </a:lnTo>
                  <a:lnTo>
                    <a:pt x="591" y="40"/>
                  </a:lnTo>
                  <a:lnTo>
                    <a:pt x="591" y="40"/>
                  </a:lnTo>
                  <a:lnTo>
                    <a:pt x="588" y="40"/>
                  </a:lnTo>
                  <a:lnTo>
                    <a:pt x="586" y="40"/>
                  </a:lnTo>
                  <a:lnTo>
                    <a:pt x="581" y="44"/>
                  </a:lnTo>
                  <a:lnTo>
                    <a:pt x="579" y="46"/>
                  </a:lnTo>
                  <a:lnTo>
                    <a:pt x="577" y="46"/>
                  </a:lnTo>
                  <a:lnTo>
                    <a:pt x="574" y="46"/>
                  </a:lnTo>
                  <a:lnTo>
                    <a:pt x="572" y="43"/>
                  </a:lnTo>
                  <a:lnTo>
                    <a:pt x="572" y="43"/>
                  </a:lnTo>
                  <a:lnTo>
                    <a:pt x="568" y="42"/>
                  </a:lnTo>
                  <a:lnTo>
                    <a:pt x="564" y="40"/>
                  </a:lnTo>
                  <a:lnTo>
                    <a:pt x="559" y="36"/>
                  </a:lnTo>
                  <a:lnTo>
                    <a:pt x="555" y="34"/>
                  </a:lnTo>
                  <a:lnTo>
                    <a:pt x="553" y="34"/>
                  </a:lnTo>
                  <a:lnTo>
                    <a:pt x="552" y="35"/>
                  </a:lnTo>
                  <a:lnTo>
                    <a:pt x="552" y="35"/>
                  </a:lnTo>
                  <a:lnTo>
                    <a:pt x="550" y="46"/>
                  </a:lnTo>
                  <a:lnTo>
                    <a:pt x="550" y="59"/>
                  </a:lnTo>
                  <a:lnTo>
                    <a:pt x="550" y="59"/>
                  </a:lnTo>
                  <a:lnTo>
                    <a:pt x="548" y="64"/>
                  </a:lnTo>
                  <a:lnTo>
                    <a:pt x="547" y="68"/>
                  </a:lnTo>
                  <a:lnTo>
                    <a:pt x="546" y="69"/>
                  </a:lnTo>
                  <a:lnTo>
                    <a:pt x="544" y="71"/>
                  </a:lnTo>
                  <a:lnTo>
                    <a:pt x="540" y="71"/>
                  </a:lnTo>
                  <a:lnTo>
                    <a:pt x="535" y="71"/>
                  </a:lnTo>
                  <a:lnTo>
                    <a:pt x="526" y="69"/>
                  </a:lnTo>
                  <a:lnTo>
                    <a:pt x="526" y="69"/>
                  </a:lnTo>
                  <a:lnTo>
                    <a:pt x="522" y="71"/>
                  </a:lnTo>
                  <a:lnTo>
                    <a:pt x="516" y="73"/>
                  </a:lnTo>
                  <a:lnTo>
                    <a:pt x="512" y="74"/>
                  </a:lnTo>
                  <a:lnTo>
                    <a:pt x="508" y="73"/>
                  </a:lnTo>
                  <a:lnTo>
                    <a:pt x="505" y="71"/>
                  </a:lnTo>
                  <a:lnTo>
                    <a:pt x="502" y="69"/>
                  </a:lnTo>
                  <a:lnTo>
                    <a:pt x="502" y="69"/>
                  </a:lnTo>
                  <a:lnTo>
                    <a:pt x="496" y="60"/>
                  </a:lnTo>
                  <a:lnTo>
                    <a:pt x="491" y="51"/>
                  </a:lnTo>
                  <a:lnTo>
                    <a:pt x="487" y="40"/>
                  </a:lnTo>
                  <a:lnTo>
                    <a:pt x="482" y="33"/>
                  </a:lnTo>
                  <a:lnTo>
                    <a:pt x="482" y="33"/>
                  </a:lnTo>
                  <a:lnTo>
                    <a:pt x="480" y="31"/>
                  </a:lnTo>
                  <a:lnTo>
                    <a:pt x="478" y="31"/>
                  </a:lnTo>
                  <a:lnTo>
                    <a:pt x="476" y="34"/>
                  </a:lnTo>
                  <a:lnTo>
                    <a:pt x="474" y="35"/>
                  </a:lnTo>
                  <a:lnTo>
                    <a:pt x="473" y="36"/>
                  </a:lnTo>
                  <a:lnTo>
                    <a:pt x="470" y="35"/>
                  </a:lnTo>
                  <a:lnTo>
                    <a:pt x="469" y="34"/>
                  </a:lnTo>
                  <a:lnTo>
                    <a:pt x="469" y="34"/>
                  </a:lnTo>
                  <a:lnTo>
                    <a:pt x="459" y="30"/>
                  </a:lnTo>
                  <a:lnTo>
                    <a:pt x="455" y="29"/>
                  </a:lnTo>
                  <a:lnTo>
                    <a:pt x="452" y="29"/>
                  </a:lnTo>
                  <a:lnTo>
                    <a:pt x="452" y="29"/>
                  </a:lnTo>
                  <a:lnTo>
                    <a:pt x="450" y="31"/>
                  </a:lnTo>
                  <a:lnTo>
                    <a:pt x="447" y="33"/>
                  </a:lnTo>
                  <a:lnTo>
                    <a:pt x="445" y="33"/>
                  </a:lnTo>
                  <a:lnTo>
                    <a:pt x="442" y="31"/>
                  </a:lnTo>
                  <a:lnTo>
                    <a:pt x="439" y="29"/>
                  </a:lnTo>
                  <a:lnTo>
                    <a:pt x="435" y="29"/>
                  </a:lnTo>
                  <a:lnTo>
                    <a:pt x="432" y="29"/>
                  </a:lnTo>
                  <a:lnTo>
                    <a:pt x="426" y="30"/>
                  </a:lnTo>
                  <a:lnTo>
                    <a:pt x="426" y="30"/>
                  </a:lnTo>
                  <a:lnTo>
                    <a:pt x="425" y="33"/>
                  </a:lnTo>
                  <a:lnTo>
                    <a:pt x="426" y="33"/>
                  </a:lnTo>
                  <a:lnTo>
                    <a:pt x="428" y="38"/>
                  </a:lnTo>
                  <a:lnTo>
                    <a:pt x="426" y="48"/>
                  </a:lnTo>
                  <a:lnTo>
                    <a:pt x="426" y="48"/>
                  </a:lnTo>
                  <a:lnTo>
                    <a:pt x="425" y="53"/>
                  </a:lnTo>
                  <a:lnTo>
                    <a:pt x="424" y="55"/>
                  </a:lnTo>
                  <a:lnTo>
                    <a:pt x="423" y="55"/>
                  </a:lnTo>
                  <a:lnTo>
                    <a:pt x="420" y="52"/>
                  </a:lnTo>
                  <a:lnTo>
                    <a:pt x="416" y="47"/>
                  </a:lnTo>
                  <a:lnTo>
                    <a:pt x="408" y="35"/>
                  </a:lnTo>
                  <a:lnTo>
                    <a:pt x="404" y="30"/>
                  </a:lnTo>
                  <a:lnTo>
                    <a:pt x="399" y="29"/>
                  </a:lnTo>
                  <a:lnTo>
                    <a:pt x="399" y="29"/>
                  </a:lnTo>
                  <a:lnTo>
                    <a:pt x="397" y="30"/>
                  </a:lnTo>
                  <a:lnTo>
                    <a:pt x="394" y="33"/>
                  </a:lnTo>
                  <a:lnTo>
                    <a:pt x="389" y="4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75" y="57"/>
                  </a:lnTo>
                  <a:lnTo>
                    <a:pt x="368" y="55"/>
                  </a:lnTo>
                  <a:lnTo>
                    <a:pt x="359" y="48"/>
                  </a:lnTo>
                  <a:lnTo>
                    <a:pt x="359" y="48"/>
                  </a:lnTo>
                  <a:lnTo>
                    <a:pt x="358" y="49"/>
                  </a:lnTo>
                  <a:lnTo>
                    <a:pt x="356" y="53"/>
                  </a:lnTo>
                  <a:lnTo>
                    <a:pt x="351" y="65"/>
                  </a:lnTo>
                  <a:lnTo>
                    <a:pt x="346" y="81"/>
                  </a:lnTo>
                  <a:lnTo>
                    <a:pt x="342" y="87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24" y="97"/>
                  </a:lnTo>
                  <a:lnTo>
                    <a:pt x="311" y="100"/>
                  </a:lnTo>
                  <a:lnTo>
                    <a:pt x="301" y="105"/>
                  </a:lnTo>
                  <a:lnTo>
                    <a:pt x="294" y="108"/>
                  </a:lnTo>
                  <a:lnTo>
                    <a:pt x="289" y="113"/>
                  </a:lnTo>
                  <a:lnTo>
                    <a:pt x="289" y="113"/>
                  </a:lnTo>
                  <a:lnTo>
                    <a:pt x="281" y="103"/>
                  </a:lnTo>
                  <a:lnTo>
                    <a:pt x="275" y="95"/>
                  </a:lnTo>
                  <a:lnTo>
                    <a:pt x="271" y="90"/>
                  </a:lnTo>
                  <a:lnTo>
                    <a:pt x="267" y="84"/>
                  </a:lnTo>
                  <a:lnTo>
                    <a:pt x="267" y="84"/>
                  </a:lnTo>
                  <a:lnTo>
                    <a:pt x="262" y="83"/>
                  </a:lnTo>
                  <a:lnTo>
                    <a:pt x="253" y="79"/>
                  </a:lnTo>
                  <a:lnTo>
                    <a:pt x="253" y="79"/>
                  </a:lnTo>
                  <a:lnTo>
                    <a:pt x="250" y="81"/>
                  </a:lnTo>
                  <a:lnTo>
                    <a:pt x="248" y="79"/>
                  </a:lnTo>
                  <a:lnTo>
                    <a:pt x="245" y="74"/>
                  </a:lnTo>
                  <a:lnTo>
                    <a:pt x="240" y="66"/>
                  </a:lnTo>
                  <a:lnTo>
                    <a:pt x="237" y="62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1" y="57"/>
                  </a:lnTo>
                  <a:lnTo>
                    <a:pt x="229" y="56"/>
                  </a:lnTo>
                  <a:lnTo>
                    <a:pt x="231" y="52"/>
                  </a:lnTo>
                  <a:lnTo>
                    <a:pt x="232" y="47"/>
                  </a:lnTo>
                  <a:lnTo>
                    <a:pt x="233" y="44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29" y="34"/>
                  </a:lnTo>
                  <a:lnTo>
                    <a:pt x="227" y="30"/>
                  </a:lnTo>
                  <a:lnTo>
                    <a:pt x="224" y="29"/>
                  </a:lnTo>
                  <a:lnTo>
                    <a:pt x="224" y="29"/>
                  </a:lnTo>
                  <a:lnTo>
                    <a:pt x="222" y="30"/>
                  </a:lnTo>
                  <a:lnTo>
                    <a:pt x="220" y="31"/>
                  </a:lnTo>
                  <a:lnTo>
                    <a:pt x="216" y="33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0" y="31"/>
                  </a:lnTo>
                  <a:lnTo>
                    <a:pt x="207" y="30"/>
                  </a:lnTo>
                  <a:lnTo>
                    <a:pt x="207" y="27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6" y="18"/>
                  </a:lnTo>
                  <a:lnTo>
                    <a:pt x="205" y="16"/>
                  </a:lnTo>
                  <a:lnTo>
                    <a:pt x="196" y="13"/>
                  </a:lnTo>
                  <a:lnTo>
                    <a:pt x="196" y="13"/>
                  </a:lnTo>
                  <a:lnTo>
                    <a:pt x="191" y="12"/>
                  </a:lnTo>
                  <a:lnTo>
                    <a:pt x="189" y="11"/>
                  </a:lnTo>
                  <a:lnTo>
                    <a:pt x="191" y="3"/>
                  </a:lnTo>
                  <a:lnTo>
                    <a:pt x="191" y="3"/>
                  </a:lnTo>
                  <a:lnTo>
                    <a:pt x="187" y="1"/>
                  </a:lnTo>
                  <a:lnTo>
                    <a:pt x="180" y="0"/>
                  </a:lnTo>
                  <a:lnTo>
                    <a:pt x="176" y="0"/>
                  </a:lnTo>
                  <a:lnTo>
                    <a:pt x="172" y="0"/>
                  </a:lnTo>
                  <a:lnTo>
                    <a:pt x="169" y="3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5" y="8"/>
                  </a:lnTo>
                  <a:lnTo>
                    <a:pt x="163" y="13"/>
                  </a:lnTo>
                  <a:lnTo>
                    <a:pt x="162" y="17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5" y="21"/>
                  </a:lnTo>
                  <a:lnTo>
                    <a:pt x="170" y="22"/>
                  </a:lnTo>
                  <a:lnTo>
                    <a:pt x="176" y="25"/>
                  </a:lnTo>
                  <a:lnTo>
                    <a:pt x="179" y="27"/>
                  </a:lnTo>
                  <a:lnTo>
                    <a:pt x="181" y="30"/>
                  </a:lnTo>
                  <a:lnTo>
                    <a:pt x="181" y="30"/>
                  </a:lnTo>
                  <a:lnTo>
                    <a:pt x="183" y="33"/>
                  </a:lnTo>
                  <a:lnTo>
                    <a:pt x="184" y="38"/>
                  </a:lnTo>
                  <a:lnTo>
                    <a:pt x="184" y="39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75" y="42"/>
                  </a:lnTo>
                  <a:lnTo>
                    <a:pt x="175" y="42"/>
                  </a:lnTo>
                  <a:lnTo>
                    <a:pt x="176" y="56"/>
                  </a:lnTo>
                  <a:lnTo>
                    <a:pt x="176" y="71"/>
                  </a:lnTo>
                  <a:lnTo>
                    <a:pt x="175" y="84"/>
                  </a:lnTo>
                  <a:lnTo>
                    <a:pt x="174" y="88"/>
                  </a:lnTo>
                  <a:lnTo>
                    <a:pt x="172" y="90"/>
                  </a:lnTo>
                  <a:lnTo>
                    <a:pt x="172" y="90"/>
                  </a:lnTo>
                  <a:lnTo>
                    <a:pt x="166" y="91"/>
                  </a:lnTo>
                  <a:lnTo>
                    <a:pt x="159" y="93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47" y="105"/>
                  </a:lnTo>
                  <a:lnTo>
                    <a:pt x="140" y="113"/>
                  </a:lnTo>
                  <a:lnTo>
                    <a:pt x="134" y="122"/>
                  </a:lnTo>
                  <a:lnTo>
                    <a:pt x="126" y="130"/>
                  </a:lnTo>
                  <a:lnTo>
                    <a:pt x="126" y="130"/>
                  </a:lnTo>
                  <a:lnTo>
                    <a:pt x="130" y="135"/>
                  </a:lnTo>
                  <a:lnTo>
                    <a:pt x="131" y="140"/>
                  </a:lnTo>
                  <a:lnTo>
                    <a:pt x="131" y="145"/>
                  </a:lnTo>
                  <a:lnTo>
                    <a:pt x="131" y="152"/>
                  </a:lnTo>
                  <a:lnTo>
                    <a:pt x="127" y="162"/>
                  </a:lnTo>
                  <a:lnTo>
                    <a:pt x="126" y="167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8" y="173"/>
                  </a:lnTo>
                  <a:lnTo>
                    <a:pt x="131" y="174"/>
                  </a:lnTo>
                  <a:lnTo>
                    <a:pt x="131" y="176"/>
                  </a:lnTo>
                  <a:lnTo>
                    <a:pt x="131" y="179"/>
                  </a:lnTo>
                  <a:lnTo>
                    <a:pt x="132" y="182"/>
                  </a:lnTo>
                  <a:lnTo>
                    <a:pt x="135" y="184"/>
                  </a:lnTo>
                  <a:lnTo>
                    <a:pt x="140" y="188"/>
                  </a:lnTo>
                  <a:lnTo>
                    <a:pt x="140" y="188"/>
                  </a:lnTo>
                  <a:lnTo>
                    <a:pt x="139" y="197"/>
                  </a:lnTo>
                  <a:lnTo>
                    <a:pt x="135" y="208"/>
                  </a:lnTo>
                  <a:lnTo>
                    <a:pt x="130" y="215"/>
                  </a:lnTo>
                  <a:lnTo>
                    <a:pt x="123" y="226"/>
                  </a:lnTo>
                  <a:lnTo>
                    <a:pt x="123" y="226"/>
                  </a:lnTo>
                  <a:lnTo>
                    <a:pt x="122" y="233"/>
                  </a:lnTo>
                  <a:lnTo>
                    <a:pt x="122" y="237"/>
                  </a:lnTo>
                  <a:lnTo>
                    <a:pt x="124" y="241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2" y="244"/>
                  </a:lnTo>
                  <a:lnTo>
                    <a:pt x="118" y="244"/>
                  </a:lnTo>
                  <a:lnTo>
                    <a:pt x="112" y="243"/>
                  </a:lnTo>
                  <a:lnTo>
                    <a:pt x="112" y="243"/>
                  </a:lnTo>
                  <a:lnTo>
                    <a:pt x="108" y="248"/>
                  </a:lnTo>
                  <a:lnTo>
                    <a:pt x="104" y="252"/>
                  </a:lnTo>
                  <a:lnTo>
                    <a:pt x="104" y="252"/>
                  </a:lnTo>
                  <a:lnTo>
                    <a:pt x="100" y="253"/>
                  </a:lnTo>
                  <a:lnTo>
                    <a:pt x="100" y="255"/>
                  </a:lnTo>
                  <a:lnTo>
                    <a:pt x="100" y="257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99" y="263"/>
                  </a:lnTo>
                  <a:lnTo>
                    <a:pt x="96" y="265"/>
                  </a:lnTo>
                  <a:lnTo>
                    <a:pt x="87" y="267"/>
                  </a:lnTo>
                  <a:lnTo>
                    <a:pt x="87" y="267"/>
                  </a:lnTo>
                  <a:lnTo>
                    <a:pt x="74" y="263"/>
                  </a:lnTo>
                  <a:lnTo>
                    <a:pt x="62" y="258"/>
                  </a:lnTo>
                  <a:lnTo>
                    <a:pt x="62" y="258"/>
                  </a:lnTo>
                  <a:lnTo>
                    <a:pt x="61" y="258"/>
                  </a:lnTo>
                  <a:lnTo>
                    <a:pt x="60" y="259"/>
                  </a:lnTo>
                  <a:lnTo>
                    <a:pt x="57" y="261"/>
                  </a:lnTo>
                  <a:lnTo>
                    <a:pt x="57" y="261"/>
                  </a:lnTo>
                  <a:lnTo>
                    <a:pt x="48" y="258"/>
                  </a:lnTo>
                  <a:lnTo>
                    <a:pt x="42" y="255"/>
                  </a:lnTo>
                  <a:lnTo>
                    <a:pt x="32" y="255"/>
                  </a:lnTo>
                  <a:lnTo>
                    <a:pt x="27" y="257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0" y="266"/>
                  </a:lnTo>
                  <a:lnTo>
                    <a:pt x="8" y="267"/>
                  </a:lnTo>
                  <a:lnTo>
                    <a:pt x="8" y="268"/>
                  </a:lnTo>
                  <a:lnTo>
                    <a:pt x="8" y="272"/>
                  </a:lnTo>
                  <a:lnTo>
                    <a:pt x="8" y="272"/>
                  </a:lnTo>
                  <a:lnTo>
                    <a:pt x="13" y="276"/>
                  </a:lnTo>
                  <a:lnTo>
                    <a:pt x="13" y="276"/>
                  </a:lnTo>
                  <a:lnTo>
                    <a:pt x="13" y="278"/>
                  </a:lnTo>
                  <a:lnTo>
                    <a:pt x="13" y="278"/>
                  </a:lnTo>
                  <a:lnTo>
                    <a:pt x="1" y="309"/>
                  </a:lnTo>
                  <a:lnTo>
                    <a:pt x="0" y="319"/>
                  </a:lnTo>
                  <a:lnTo>
                    <a:pt x="0" y="32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1" name="Freeform 189"/>
            <p:cNvSpPr>
              <a:spLocks/>
            </p:cNvSpPr>
            <p:nvPr/>
          </p:nvSpPr>
          <p:spPr bwMode="auto">
            <a:xfrm>
              <a:off x="3314700" y="1836739"/>
              <a:ext cx="1516063" cy="1966914"/>
            </a:xfrm>
            <a:custGeom>
              <a:avLst/>
              <a:gdLst>
                <a:gd name="T0" fmla="*/ 372 w 955"/>
                <a:gd name="T1" fmla="*/ 1155 h 1239"/>
                <a:gd name="T2" fmla="*/ 331 w 955"/>
                <a:gd name="T3" fmla="*/ 1096 h 1239"/>
                <a:gd name="T4" fmla="*/ 257 w 955"/>
                <a:gd name="T5" fmla="*/ 1043 h 1239"/>
                <a:gd name="T6" fmla="*/ 257 w 955"/>
                <a:gd name="T7" fmla="*/ 1003 h 1239"/>
                <a:gd name="T8" fmla="*/ 261 w 955"/>
                <a:gd name="T9" fmla="*/ 965 h 1239"/>
                <a:gd name="T10" fmla="*/ 298 w 955"/>
                <a:gd name="T11" fmla="*/ 896 h 1239"/>
                <a:gd name="T12" fmla="*/ 314 w 955"/>
                <a:gd name="T13" fmla="*/ 868 h 1239"/>
                <a:gd name="T14" fmla="*/ 277 w 955"/>
                <a:gd name="T15" fmla="*/ 798 h 1239"/>
                <a:gd name="T16" fmla="*/ 254 w 955"/>
                <a:gd name="T17" fmla="*/ 758 h 1239"/>
                <a:gd name="T18" fmla="*/ 247 w 955"/>
                <a:gd name="T19" fmla="*/ 727 h 1239"/>
                <a:gd name="T20" fmla="*/ 252 w 955"/>
                <a:gd name="T21" fmla="*/ 700 h 1239"/>
                <a:gd name="T22" fmla="*/ 237 w 955"/>
                <a:gd name="T23" fmla="*/ 666 h 1239"/>
                <a:gd name="T24" fmla="*/ 211 w 955"/>
                <a:gd name="T25" fmla="*/ 631 h 1239"/>
                <a:gd name="T26" fmla="*/ 168 w 955"/>
                <a:gd name="T27" fmla="*/ 614 h 1239"/>
                <a:gd name="T28" fmla="*/ 95 w 955"/>
                <a:gd name="T29" fmla="*/ 560 h 1239"/>
                <a:gd name="T30" fmla="*/ 50 w 955"/>
                <a:gd name="T31" fmla="*/ 533 h 1239"/>
                <a:gd name="T32" fmla="*/ 5 w 955"/>
                <a:gd name="T33" fmla="*/ 505 h 1239"/>
                <a:gd name="T34" fmla="*/ 58 w 955"/>
                <a:gd name="T35" fmla="*/ 457 h 1239"/>
                <a:gd name="T36" fmla="*/ 118 w 955"/>
                <a:gd name="T37" fmla="*/ 435 h 1239"/>
                <a:gd name="T38" fmla="*/ 107 w 955"/>
                <a:gd name="T39" fmla="*/ 391 h 1239"/>
                <a:gd name="T40" fmla="*/ 94 w 955"/>
                <a:gd name="T41" fmla="*/ 343 h 1239"/>
                <a:gd name="T42" fmla="*/ 149 w 955"/>
                <a:gd name="T43" fmla="*/ 308 h 1239"/>
                <a:gd name="T44" fmla="*/ 207 w 955"/>
                <a:gd name="T45" fmla="*/ 302 h 1239"/>
                <a:gd name="T46" fmla="*/ 264 w 955"/>
                <a:gd name="T47" fmla="*/ 293 h 1239"/>
                <a:gd name="T48" fmla="*/ 217 w 955"/>
                <a:gd name="T49" fmla="*/ 258 h 1239"/>
                <a:gd name="T50" fmla="*/ 175 w 955"/>
                <a:gd name="T51" fmla="*/ 246 h 1239"/>
                <a:gd name="T52" fmla="*/ 159 w 955"/>
                <a:gd name="T53" fmla="*/ 220 h 1239"/>
                <a:gd name="T54" fmla="*/ 184 w 955"/>
                <a:gd name="T55" fmla="*/ 216 h 1239"/>
                <a:gd name="T56" fmla="*/ 182 w 955"/>
                <a:gd name="T57" fmla="*/ 188 h 1239"/>
                <a:gd name="T58" fmla="*/ 136 w 955"/>
                <a:gd name="T59" fmla="*/ 171 h 1239"/>
                <a:gd name="T60" fmla="*/ 156 w 955"/>
                <a:gd name="T61" fmla="*/ 130 h 1239"/>
                <a:gd name="T62" fmla="*/ 167 w 955"/>
                <a:gd name="T63" fmla="*/ 130 h 1239"/>
                <a:gd name="T64" fmla="*/ 199 w 955"/>
                <a:gd name="T65" fmla="*/ 100 h 1239"/>
                <a:gd name="T66" fmla="*/ 237 w 955"/>
                <a:gd name="T67" fmla="*/ 122 h 1239"/>
                <a:gd name="T68" fmla="*/ 272 w 955"/>
                <a:gd name="T69" fmla="*/ 110 h 1239"/>
                <a:gd name="T70" fmla="*/ 311 w 955"/>
                <a:gd name="T71" fmla="*/ 136 h 1239"/>
                <a:gd name="T72" fmla="*/ 342 w 955"/>
                <a:gd name="T73" fmla="*/ 104 h 1239"/>
                <a:gd name="T74" fmla="*/ 413 w 955"/>
                <a:gd name="T75" fmla="*/ 88 h 1239"/>
                <a:gd name="T76" fmla="*/ 484 w 955"/>
                <a:gd name="T77" fmla="*/ 87 h 1239"/>
                <a:gd name="T78" fmla="*/ 533 w 955"/>
                <a:gd name="T79" fmla="*/ 65 h 1239"/>
                <a:gd name="T80" fmla="*/ 601 w 955"/>
                <a:gd name="T81" fmla="*/ 60 h 1239"/>
                <a:gd name="T82" fmla="*/ 649 w 955"/>
                <a:gd name="T83" fmla="*/ 26 h 1239"/>
                <a:gd name="T84" fmla="*/ 659 w 955"/>
                <a:gd name="T85" fmla="*/ 8 h 1239"/>
                <a:gd name="T86" fmla="*/ 707 w 955"/>
                <a:gd name="T87" fmla="*/ 5 h 1239"/>
                <a:gd name="T88" fmla="*/ 730 w 955"/>
                <a:gd name="T89" fmla="*/ 79 h 1239"/>
                <a:gd name="T90" fmla="*/ 711 w 955"/>
                <a:gd name="T91" fmla="*/ 149 h 1239"/>
                <a:gd name="T92" fmla="*/ 734 w 955"/>
                <a:gd name="T93" fmla="*/ 308 h 1239"/>
                <a:gd name="T94" fmla="*/ 685 w 955"/>
                <a:gd name="T95" fmla="*/ 499 h 1239"/>
                <a:gd name="T96" fmla="*/ 635 w 955"/>
                <a:gd name="T97" fmla="*/ 643 h 1239"/>
                <a:gd name="T98" fmla="*/ 657 w 955"/>
                <a:gd name="T99" fmla="*/ 715 h 1239"/>
                <a:gd name="T100" fmla="*/ 692 w 955"/>
                <a:gd name="T101" fmla="*/ 713 h 1239"/>
                <a:gd name="T102" fmla="*/ 728 w 955"/>
                <a:gd name="T103" fmla="*/ 744 h 1239"/>
                <a:gd name="T104" fmla="*/ 833 w 955"/>
                <a:gd name="T105" fmla="*/ 826 h 1239"/>
                <a:gd name="T106" fmla="*/ 935 w 955"/>
                <a:gd name="T107" fmla="*/ 791 h 1239"/>
                <a:gd name="T108" fmla="*/ 952 w 955"/>
                <a:gd name="T109" fmla="*/ 818 h 1239"/>
                <a:gd name="T110" fmla="*/ 894 w 955"/>
                <a:gd name="T111" fmla="*/ 861 h 1239"/>
                <a:gd name="T112" fmla="*/ 848 w 955"/>
                <a:gd name="T113" fmla="*/ 934 h 1239"/>
                <a:gd name="T114" fmla="*/ 749 w 955"/>
                <a:gd name="T115" fmla="*/ 1042 h 1239"/>
                <a:gd name="T116" fmla="*/ 666 w 955"/>
                <a:gd name="T117" fmla="*/ 1111 h 1239"/>
                <a:gd name="T118" fmla="*/ 513 w 955"/>
                <a:gd name="T119" fmla="*/ 1159 h 1239"/>
                <a:gd name="T120" fmla="*/ 458 w 955"/>
                <a:gd name="T121" fmla="*/ 1226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55" h="1239">
                  <a:moveTo>
                    <a:pt x="438" y="1230"/>
                  </a:moveTo>
                  <a:lnTo>
                    <a:pt x="438" y="1230"/>
                  </a:lnTo>
                  <a:lnTo>
                    <a:pt x="430" y="1214"/>
                  </a:lnTo>
                  <a:lnTo>
                    <a:pt x="421" y="1197"/>
                  </a:lnTo>
                  <a:lnTo>
                    <a:pt x="417" y="1190"/>
                  </a:lnTo>
                  <a:lnTo>
                    <a:pt x="410" y="1182"/>
                  </a:lnTo>
                  <a:lnTo>
                    <a:pt x="404" y="1177"/>
                  </a:lnTo>
                  <a:lnTo>
                    <a:pt x="397" y="1173"/>
                  </a:lnTo>
                  <a:lnTo>
                    <a:pt x="397" y="1173"/>
                  </a:lnTo>
                  <a:lnTo>
                    <a:pt x="383" y="1165"/>
                  </a:lnTo>
                  <a:lnTo>
                    <a:pt x="375" y="1161"/>
                  </a:lnTo>
                  <a:lnTo>
                    <a:pt x="373" y="1159"/>
                  </a:lnTo>
                  <a:lnTo>
                    <a:pt x="372" y="1155"/>
                  </a:lnTo>
                  <a:lnTo>
                    <a:pt x="372" y="1155"/>
                  </a:lnTo>
                  <a:lnTo>
                    <a:pt x="360" y="1151"/>
                  </a:lnTo>
                  <a:lnTo>
                    <a:pt x="348" y="1147"/>
                  </a:lnTo>
                  <a:lnTo>
                    <a:pt x="337" y="1142"/>
                  </a:lnTo>
                  <a:lnTo>
                    <a:pt x="329" y="1137"/>
                  </a:lnTo>
                  <a:lnTo>
                    <a:pt x="329" y="1137"/>
                  </a:lnTo>
                  <a:lnTo>
                    <a:pt x="326" y="1129"/>
                  </a:lnTo>
                  <a:lnTo>
                    <a:pt x="326" y="1121"/>
                  </a:lnTo>
                  <a:lnTo>
                    <a:pt x="326" y="1121"/>
                  </a:lnTo>
                  <a:lnTo>
                    <a:pt x="333" y="1115"/>
                  </a:lnTo>
                  <a:lnTo>
                    <a:pt x="335" y="1111"/>
                  </a:lnTo>
                  <a:lnTo>
                    <a:pt x="337" y="1107"/>
                  </a:lnTo>
                  <a:lnTo>
                    <a:pt x="337" y="1107"/>
                  </a:lnTo>
                  <a:lnTo>
                    <a:pt x="335" y="1100"/>
                  </a:lnTo>
                  <a:lnTo>
                    <a:pt x="331" y="1096"/>
                  </a:lnTo>
                  <a:lnTo>
                    <a:pt x="327" y="1094"/>
                  </a:lnTo>
                  <a:lnTo>
                    <a:pt x="322" y="1092"/>
                  </a:lnTo>
                  <a:lnTo>
                    <a:pt x="322" y="1092"/>
                  </a:lnTo>
                  <a:lnTo>
                    <a:pt x="317" y="1094"/>
                  </a:lnTo>
                  <a:lnTo>
                    <a:pt x="311" y="1099"/>
                  </a:lnTo>
                  <a:lnTo>
                    <a:pt x="303" y="1104"/>
                  </a:lnTo>
                  <a:lnTo>
                    <a:pt x="303" y="1104"/>
                  </a:lnTo>
                  <a:lnTo>
                    <a:pt x="268" y="1072"/>
                  </a:lnTo>
                  <a:lnTo>
                    <a:pt x="268" y="1072"/>
                  </a:lnTo>
                  <a:lnTo>
                    <a:pt x="264" y="1064"/>
                  </a:lnTo>
                  <a:lnTo>
                    <a:pt x="261" y="1056"/>
                  </a:lnTo>
                  <a:lnTo>
                    <a:pt x="259" y="1046"/>
                  </a:lnTo>
                  <a:lnTo>
                    <a:pt x="259" y="1046"/>
                  </a:lnTo>
                  <a:lnTo>
                    <a:pt x="257" y="1043"/>
                  </a:lnTo>
                  <a:lnTo>
                    <a:pt x="255" y="1041"/>
                  </a:lnTo>
                  <a:lnTo>
                    <a:pt x="246" y="1032"/>
                  </a:lnTo>
                  <a:lnTo>
                    <a:pt x="246" y="1032"/>
                  </a:lnTo>
                  <a:lnTo>
                    <a:pt x="247" y="1028"/>
                  </a:lnTo>
                  <a:lnTo>
                    <a:pt x="248" y="1026"/>
                  </a:lnTo>
                  <a:lnTo>
                    <a:pt x="252" y="1026"/>
                  </a:lnTo>
                  <a:lnTo>
                    <a:pt x="255" y="1026"/>
                  </a:lnTo>
                  <a:lnTo>
                    <a:pt x="263" y="1028"/>
                  </a:lnTo>
                  <a:lnTo>
                    <a:pt x="265" y="1028"/>
                  </a:lnTo>
                  <a:lnTo>
                    <a:pt x="267" y="1028"/>
                  </a:lnTo>
                  <a:lnTo>
                    <a:pt x="267" y="1028"/>
                  </a:lnTo>
                  <a:lnTo>
                    <a:pt x="267" y="1024"/>
                  </a:lnTo>
                  <a:lnTo>
                    <a:pt x="264" y="1019"/>
                  </a:lnTo>
                  <a:lnTo>
                    <a:pt x="257" y="1003"/>
                  </a:lnTo>
                  <a:lnTo>
                    <a:pt x="248" y="98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2" y="972"/>
                  </a:lnTo>
                  <a:lnTo>
                    <a:pt x="245" y="968"/>
                  </a:lnTo>
                  <a:lnTo>
                    <a:pt x="247" y="963"/>
                  </a:lnTo>
                  <a:lnTo>
                    <a:pt x="248" y="962"/>
                  </a:lnTo>
                  <a:lnTo>
                    <a:pt x="248" y="962"/>
                  </a:lnTo>
                  <a:lnTo>
                    <a:pt x="251" y="963"/>
                  </a:lnTo>
                  <a:lnTo>
                    <a:pt x="255" y="965"/>
                  </a:lnTo>
                  <a:lnTo>
                    <a:pt x="259" y="967"/>
                  </a:lnTo>
                  <a:lnTo>
                    <a:pt x="260" y="967"/>
                  </a:lnTo>
                  <a:lnTo>
                    <a:pt x="261" y="965"/>
                  </a:lnTo>
                  <a:lnTo>
                    <a:pt x="261" y="965"/>
                  </a:lnTo>
                  <a:lnTo>
                    <a:pt x="261" y="962"/>
                  </a:lnTo>
                  <a:lnTo>
                    <a:pt x="261" y="955"/>
                  </a:lnTo>
                  <a:lnTo>
                    <a:pt x="260" y="942"/>
                  </a:lnTo>
                  <a:lnTo>
                    <a:pt x="260" y="942"/>
                  </a:lnTo>
                  <a:lnTo>
                    <a:pt x="267" y="938"/>
                  </a:lnTo>
                  <a:lnTo>
                    <a:pt x="274" y="932"/>
                  </a:lnTo>
                  <a:lnTo>
                    <a:pt x="274" y="932"/>
                  </a:lnTo>
                  <a:lnTo>
                    <a:pt x="277" y="927"/>
                  </a:lnTo>
                  <a:lnTo>
                    <a:pt x="278" y="921"/>
                  </a:lnTo>
                  <a:lnTo>
                    <a:pt x="279" y="912"/>
                  </a:lnTo>
                  <a:lnTo>
                    <a:pt x="281" y="908"/>
                  </a:lnTo>
                  <a:lnTo>
                    <a:pt x="283" y="905"/>
                  </a:lnTo>
                  <a:lnTo>
                    <a:pt x="290" y="901"/>
                  </a:lnTo>
                  <a:lnTo>
                    <a:pt x="298" y="896"/>
                  </a:lnTo>
                  <a:lnTo>
                    <a:pt x="298" y="896"/>
                  </a:lnTo>
                  <a:lnTo>
                    <a:pt x="300" y="896"/>
                  </a:lnTo>
                  <a:lnTo>
                    <a:pt x="303" y="897"/>
                  </a:lnTo>
                  <a:lnTo>
                    <a:pt x="309" y="901"/>
                  </a:lnTo>
                  <a:lnTo>
                    <a:pt x="320" y="908"/>
                  </a:lnTo>
                  <a:lnTo>
                    <a:pt x="320" y="908"/>
                  </a:lnTo>
                  <a:lnTo>
                    <a:pt x="320" y="901"/>
                  </a:lnTo>
                  <a:lnTo>
                    <a:pt x="321" y="897"/>
                  </a:lnTo>
                  <a:lnTo>
                    <a:pt x="324" y="893"/>
                  </a:lnTo>
                  <a:lnTo>
                    <a:pt x="325" y="888"/>
                  </a:lnTo>
                  <a:lnTo>
                    <a:pt x="325" y="888"/>
                  </a:lnTo>
                  <a:lnTo>
                    <a:pt x="321" y="885"/>
                  </a:lnTo>
                  <a:lnTo>
                    <a:pt x="318" y="881"/>
                  </a:lnTo>
                  <a:lnTo>
                    <a:pt x="314" y="868"/>
                  </a:lnTo>
                  <a:lnTo>
                    <a:pt x="314" y="868"/>
                  </a:lnTo>
                  <a:lnTo>
                    <a:pt x="308" y="857"/>
                  </a:lnTo>
                  <a:lnTo>
                    <a:pt x="304" y="846"/>
                  </a:lnTo>
                  <a:lnTo>
                    <a:pt x="296" y="828"/>
                  </a:lnTo>
                  <a:lnTo>
                    <a:pt x="296" y="828"/>
                  </a:lnTo>
                  <a:lnTo>
                    <a:pt x="294" y="827"/>
                  </a:lnTo>
                  <a:lnTo>
                    <a:pt x="292" y="826"/>
                  </a:lnTo>
                  <a:lnTo>
                    <a:pt x="291" y="819"/>
                  </a:lnTo>
                  <a:lnTo>
                    <a:pt x="289" y="813"/>
                  </a:lnTo>
                  <a:lnTo>
                    <a:pt x="289" y="810"/>
                  </a:lnTo>
                  <a:lnTo>
                    <a:pt x="286" y="809"/>
                  </a:lnTo>
                  <a:lnTo>
                    <a:pt x="286" y="809"/>
                  </a:lnTo>
                  <a:lnTo>
                    <a:pt x="278" y="801"/>
                  </a:lnTo>
                  <a:lnTo>
                    <a:pt x="277" y="798"/>
                  </a:lnTo>
                  <a:lnTo>
                    <a:pt x="274" y="794"/>
                  </a:lnTo>
                  <a:lnTo>
                    <a:pt x="274" y="791"/>
                  </a:lnTo>
                  <a:lnTo>
                    <a:pt x="276" y="787"/>
                  </a:lnTo>
                  <a:lnTo>
                    <a:pt x="276" y="787"/>
                  </a:lnTo>
                  <a:lnTo>
                    <a:pt x="276" y="781"/>
                  </a:lnTo>
                  <a:lnTo>
                    <a:pt x="274" y="771"/>
                  </a:lnTo>
                  <a:lnTo>
                    <a:pt x="270" y="757"/>
                  </a:lnTo>
                  <a:lnTo>
                    <a:pt x="270" y="757"/>
                  </a:lnTo>
                  <a:lnTo>
                    <a:pt x="270" y="756"/>
                  </a:lnTo>
                  <a:lnTo>
                    <a:pt x="268" y="754"/>
                  </a:lnTo>
                  <a:lnTo>
                    <a:pt x="264" y="754"/>
                  </a:lnTo>
                  <a:lnTo>
                    <a:pt x="256" y="757"/>
                  </a:lnTo>
                  <a:lnTo>
                    <a:pt x="256" y="757"/>
                  </a:lnTo>
                  <a:lnTo>
                    <a:pt x="254" y="758"/>
                  </a:lnTo>
                  <a:lnTo>
                    <a:pt x="250" y="759"/>
                  </a:lnTo>
                  <a:lnTo>
                    <a:pt x="248" y="759"/>
                  </a:lnTo>
                  <a:lnTo>
                    <a:pt x="247" y="758"/>
                  </a:lnTo>
                  <a:lnTo>
                    <a:pt x="245" y="754"/>
                  </a:lnTo>
                  <a:lnTo>
                    <a:pt x="245" y="750"/>
                  </a:lnTo>
                  <a:lnTo>
                    <a:pt x="245" y="750"/>
                  </a:lnTo>
                  <a:lnTo>
                    <a:pt x="250" y="748"/>
                  </a:lnTo>
                  <a:lnTo>
                    <a:pt x="251" y="745"/>
                  </a:lnTo>
                  <a:lnTo>
                    <a:pt x="251" y="744"/>
                  </a:lnTo>
                  <a:lnTo>
                    <a:pt x="251" y="740"/>
                  </a:lnTo>
                  <a:lnTo>
                    <a:pt x="248" y="736"/>
                  </a:lnTo>
                  <a:lnTo>
                    <a:pt x="246" y="730"/>
                  </a:lnTo>
                  <a:lnTo>
                    <a:pt x="246" y="728"/>
                  </a:lnTo>
                  <a:lnTo>
                    <a:pt x="247" y="727"/>
                  </a:lnTo>
                  <a:lnTo>
                    <a:pt x="251" y="728"/>
                  </a:lnTo>
                  <a:lnTo>
                    <a:pt x="251" y="728"/>
                  </a:lnTo>
                  <a:lnTo>
                    <a:pt x="254" y="727"/>
                  </a:lnTo>
                  <a:lnTo>
                    <a:pt x="255" y="726"/>
                  </a:lnTo>
                  <a:lnTo>
                    <a:pt x="255" y="723"/>
                  </a:lnTo>
                  <a:lnTo>
                    <a:pt x="256" y="722"/>
                  </a:lnTo>
                  <a:lnTo>
                    <a:pt x="259" y="721"/>
                  </a:lnTo>
                  <a:lnTo>
                    <a:pt x="270" y="721"/>
                  </a:lnTo>
                  <a:lnTo>
                    <a:pt x="270" y="721"/>
                  </a:lnTo>
                  <a:lnTo>
                    <a:pt x="268" y="717"/>
                  </a:lnTo>
                  <a:lnTo>
                    <a:pt x="263" y="710"/>
                  </a:lnTo>
                  <a:lnTo>
                    <a:pt x="256" y="704"/>
                  </a:lnTo>
                  <a:lnTo>
                    <a:pt x="252" y="700"/>
                  </a:lnTo>
                  <a:lnTo>
                    <a:pt x="252" y="700"/>
                  </a:lnTo>
                  <a:lnTo>
                    <a:pt x="248" y="696"/>
                  </a:lnTo>
                  <a:lnTo>
                    <a:pt x="247" y="691"/>
                  </a:lnTo>
                  <a:lnTo>
                    <a:pt x="247" y="689"/>
                  </a:lnTo>
                  <a:lnTo>
                    <a:pt x="248" y="687"/>
                  </a:lnTo>
                  <a:lnTo>
                    <a:pt x="254" y="683"/>
                  </a:lnTo>
                  <a:lnTo>
                    <a:pt x="254" y="683"/>
                  </a:lnTo>
                  <a:lnTo>
                    <a:pt x="255" y="679"/>
                  </a:lnTo>
                  <a:lnTo>
                    <a:pt x="254" y="675"/>
                  </a:lnTo>
                  <a:lnTo>
                    <a:pt x="252" y="673"/>
                  </a:lnTo>
                  <a:lnTo>
                    <a:pt x="250" y="670"/>
                  </a:lnTo>
                  <a:lnTo>
                    <a:pt x="243" y="666"/>
                  </a:lnTo>
                  <a:lnTo>
                    <a:pt x="239" y="666"/>
                  </a:lnTo>
                  <a:lnTo>
                    <a:pt x="237" y="666"/>
                  </a:lnTo>
                  <a:lnTo>
                    <a:pt x="237" y="666"/>
                  </a:lnTo>
                  <a:lnTo>
                    <a:pt x="233" y="666"/>
                  </a:lnTo>
                  <a:lnTo>
                    <a:pt x="232" y="667"/>
                  </a:lnTo>
                  <a:lnTo>
                    <a:pt x="230" y="674"/>
                  </a:lnTo>
                  <a:lnTo>
                    <a:pt x="230" y="674"/>
                  </a:lnTo>
                  <a:lnTo>
                    <a:pt x="226" y="674"/>
                  </a:lnTo>
                  <a:lnTo>
                    <a:pt x="224" y="674"/>
                  </a:lnTo>
                  <a:lnTo>
                    <a:pt x="222" y="671"/>
                  </a:lnTo>
                  <a:lnTo>
                    <a:pt x="222" y="667"/>
                  </a:lnTo>
                  <a:lnTo>
                    <a:pt x="222" y="667"/>
                  </a:lnTo>
                  <a:lnTo>
                    <a:pt x="219" y="664"/>
                  </a:lnTo>
                  <a:lnTo>
                    <a:pt x="216" y="658"/>
                  </a:lnTo>
                  <a:lnTo>
                    <a:pt x="215" y="647"/>
                  </a:lnTo>
                  <a:lnTo>
                    <a:pt x="213" y="635"/>
                  </a:lnTo>
                  <a:lnTo>
                    <a:pt x="211" y="631"/>
                  </a:lnTo>
                  <a:lnTo>
                    <a:pt x="208" y="629"/>
                  </a:lnTo>
                  <a:lnTo>
                    <a:pt x="208" y="629"/>
                  </a:lnTo>
                  <a:lnTo>
                    <a:pt x="206" y="630"/>
                  </a:lnTo>
                  <a:lnTo>
                    <a:pt x="204" y="630"/>
                  </a:lnTo>
                  <a:lnTo>
                    <a:pt x="200" y="634"/>
                  </a:lnTo>
                  <a:lnTo>
                    <a:pt x="197" y="636"/>
                  </a:lnTo>
                  <a:lnTo>
                    <a:pt x="194" y="638"/>
                  </a:lnTo>
                  <a:lnTo>
                    <a:pt x="191" y="636"/>
                  </a:lnTo>
                  <a:lnTo>
                    <a:pt x="191" y="636"/>
                  </a:lnTo>
                  <a:lnTo>
                    <a:pt x="186" y="631"/>
                  </a:lnTo>
                  <a:lnTo>
                    <a:pt x="180" y="627"/>
                  </a:lnTo>
                  <a:lnTo>
                    <a:pt x="175" y="622"/>
                  </a:lnTo>
                  <a:lnTo>
                    <a:pt x="171" y="618"/>
                  </a:lnTo>
                  <a:lnTo>
                    <a:pt x="168" y="614"/>
                  </a:lnTo>
                  <a:lnTo>
                    <a:pt x="168" y="614"/>
                  </a:lnTo>
                  <a:lnTo>
                    <a:pt x="155" y="605"/>
                  </a:lnTo>
                  <a:lnTo>
                    <a:pt x="143" y="600"/>
                  </a:lnTo>
                  <a:lnTo>
                    <a:pt x="129" y="596"/>
                  </a:lnTo>
                  <a:lnTo>
                    <a:pt x="111" y="592"/>
                  </a:lnTo>
                  <a:lnTo>
                    <a:pt x="111" y="592"/>
                  </a:lnTo>
                  <a:lnTo>
                    <a:pt x="101" y="581"/>
                  </a:lnTo>
                  <a:lnTo>
                    <a:pt x="101" y="581"/>
                  </a:lnTo>
                  <a:lnTo>
                    <a:pt x="101" y="574"/>
                  </a:lnTo>
                  <a:lnTo>
                    <a:pt x="102" y="569"/>
                  </a:lnTo>
                  <a:lnTo>
                    <a:pt x="102" y="566"/>
                  </a:lnTo>
                  <a:lnTo>
                    <a:pt x="102" y="565"/>
                  </a:lnTo>
                  <a:lnTo>
                    <a:pt x="99" y="562"/>
                  </a:lnTo>
                  <a:lnTo>
                    <a:pt x="95" y="560"/>
                  </a:lnTo>
                  <a:lnTo>
                    <a:pt x="95" y="560"/>
                  </a:lnTo>
                  <a:lnTo>
                    <a:pt x="90" y="560"/>
                  </a:lnTo>
                  <a:lnTo>
                    <a:pt x="79" y="560"/>
                  </a:lnTo>
                  <a:lnTo>
                    <a:pt x="63" y="559"/>
                  </a:lnTo>
                  <a:lnTo>
                    <a:pt x="45" y="553"/>
                  </a:lnTo>
                  <a:lnTo>
                    <a:pt x="45" y="553"/>
                  </a:lnTo>
                  <a:lnTo>
                    <a:pt x="37" y="548"/>
                  </a:lnTo>
                  <a:lnTo>
                    <a:pt x="35" y="546"/>
                  </a:lnTo>
                  <a:lnTo>
                    <a:pt x="35" y="544"/>
                  </a:lnTo>
                  <a:lnTo>
                    <a:pt x="35" y="543"/>
                  </a:lnTo>
                  <a:lnTo>
                    <a:pt x="35" y="543"/>
                  </a:lnTo>
                  <a:lnTo>
                    <a:pt x="44" y="539"/>
                  </a:lnTo>
                  <a:lnTo>
                    <a:pt x="48" y="535"/>
                  </a:lnTo>
                  <a:lnTo>
                    <a:pt x="50" y="533"/>
                  </a:lnTo>
                  <a:lnTo>
                    <a:pt x="51" y="529"/>
                  </a:lnTo>
                  <a:lnTo>
                    <a:pt x="50" y="525"/>
                  </a:lnTo>
                  <a:lnTo>
                    <a:pt x="46" y="522"/>
                  </a:lnTo>
                  <a:lnTo>
                    <a:pt x="41" y="520"/>
                  </a:lnTo>
                  <a:lnTo>
                    <a:pt x="41" y="520"/>
                  </a:lnTo>
                  <a:lnTo>
                    <a:pt x="38" y="517"/>
                  </a:lnTo>
                  <a:lnTo>
                    <a:pt x="36" y="515"/>
                  </a:lnTo>
                  <a:lnTo>
                    <a:pt x="26" y="511"/>
                  </a:lnTo>
                  <a:lnTo>
                    <a:pt x="26" y="511"/>
                  </a:lnTo>
                  <a:lnTo>
                    <a:pt x="20" y="509"/>
                  </a:lnTo>
                  <a:lnTo>
                    <a:pt x="16" y="508"/>
                  </a:lnTo>
                  <a:lnTo>
                    <a:pt x="13" y="505"/>
                  </a:lnTo>
                  <a:lnTo>
                    <a:pt x="5" y="505"/>
                  </a:lnTo>
                  <a:lnTo>
                    <a:pt x="5" y="505"/>
                  </a:lnTo>
                  <a:lnTo>
                    <a:pt x="5" y="502"/>
                  </a:lnTo>
                  <a:lnTo>
                    <a:pt x="2" y="499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0" y="483"/>
                  </a:lnTo>
                  <a:lnTo>
                    <a:pt x="0" y="483"/>
                  </a:lnTo>
                  <a:lnTo>
                    <a:pt x="10" y="485"/>
                  </a:lnTo>
                  <a:lnTo>
                    <a:pt x="18" y="486"/>
                  </a:lnTo>
                  <a:lnTo>
                    <a:pt x="24" y="485"/>
                  </a:lnTo>
                  <a:lnTo>
                    <a:pt x="28" y="482"/>
                  </a:lnTo>
                  <a:lnTo>
                    <a:pt x="38" y="473"/>
                  </a:lnTo>
                  <a:lnTo>
                    <a:pt x="46" y="467"/>
                  </a:lnTo>
                  <a:lnTo>
                    <a:pt x="58" y="457"/>
                  </a:lnTo>
                  <a:lnTo>
                    <a:pt x="58" y="457"/>
                  </a:lnTo>
                  <a:lnTo>
                    <a:pt x="75" y="459"/>
                  </a:lnTo>
                  <a:lnTo>
                    <a:pt x="86" y="459"/>
                  </a:lnTo>
                  <a:lnTo>
                    <a:pt x="89" y="457"/>
                  </a:lnTo>
                  <a:lnTo>
                    <a:pt x="92" y="455"/>
                  </a:lnTo>
                  <a:lnTo>
                    <a:pt x="92" y="455"/>
                  </a:lnTo>
                  <a:lnTo>
                    <a:pt x="89" y="450"/>
                  </a:lnTo>
                  <a:lnTo>
                    <a:pt x="89" y="448"/>
                  </a:lnTo>
                  <a:lnTo>
                    <a:pt x="90" y="447"/>
                  </a:lnTo>
                  <a:lnTo>
                    <a:pt x="94" y="446"/>
                  </a:lnTo>
                  <a:lnTo>
                    <a:pt x="103" y="445"/>
                  </a:lnTo>
                  <a:lnTo>
                    <a:pt x="103" y="445"/>
                  </a:lnTo>
                  <a:lnTo>
                    <a:pt x="108" y="442"/>
                  </a:lnTo>
                  <a:lnTo>
                    <a:pt x="112" y="441"/>
                  </a:lnTo>
                  <a:lnTo>
                    <a:pt x="118" y="435"/>
                  </a:lnTo>
                  <a:lnTo>
                    <a:pt x="121" y="430"/>
                  </a:lnTo>
                  <a:lnTo>
                    <a:pt x="129" y="424"/>
                  </a:lnTo>
                  <a:lnTo>
                    <a:pt x="129" y="424"/>
                  </a:lnTo>
                  <a:lnTo>
                    <a:pt x="124" y="417"/>
                  </a:lnTo>
                  <a:lnTo>
                    <a:pt x="121" y="411"/>
                  </a:lnTo>
                  <a:lnTo>
                    <a:pt x="120" y="404"/>
                  </a:lnTo>
                  <a:lnTo>
                    <a:pt x="121" y="399"/>
                  </a:lnTo>
                  <a:lnTo>
                    <a:pt x="123" y="395"/>
                  </a:lnTo>
                  <a:lnTo>
                    <a:pt x="123" y="393"/>
                  </a:lnTo>
                  <a:lnTo>
                    <a:pt x="121" y="391"/>
                  </a:lnTo>
                  <a:lnTo>
                    <a:pt x="118" y="391"/>
                  </a:lnTo>
                  <a:lnTo>
                    <a:pt x="118" y="391"/>
                  </a:lnTo>
                  <a:lnTo>
                    <a:pt x="110" y="393"/>
                  </a:lnTo>
                  <a:lnTo>
                    <a:pt x="107" y="391"/>
                  </a:lnTo>
                  <a:lnTo>
                    <a:pt x="106" y="391"/>
                  </a:lnTo>
                  <a:lnTo>
                    <a:pt x="106" y="388"/>
                  </a:lnTo>
                  <a:lnTo>
                    <a:pt x="106" y="382"/>
                  </a:lnTo>
                  <a:lnTo>
                    <a:pt x="107" y="377"/>
                  </a:lnTo>
                  <a:lnTo>
                    <a:pt x="107" y="372"/>
                  </a:lnTo>
                  <a:lnTo>
                    <a:pt x="106" y="371"/>
                  </a:lnTo>
                  <a:lnTo>
                    <a:pt x="105" y="368"/>
                  </a:lnTo>
                  <a:lnTo>
                    <a:pt x="101" y="367"/>
                  </a:lnTo>
                  <a:lnTo>
                    <a:pt x="97" y="367"/>
                  </a:lnTo>
                  <a:lnTo>
                    <a:pt x="97" y="367"/>
                  </a:lnTo>
                  <a:lnTo>
                    <a:pt x="95" y="364"/>
                  </a:lnTo>
                  <a:lnTo>
                    <a:pt x="94" y="362"/>
                  </a:lnTo>
                  <a:lnTo>
                    <a:pt x="94" y="354"/>
                  </a:lnTo>
                  <a:lnTo>
                    <a:pt x="94" y="343"/>
                  </a:lnTo>
                  <a:lnTo>
                    <a:pt x="94" y="343"/>
                  </a:lnTo>
                  <a:lnTo>
                    <a:pt x="107" y="341"/>
                  </a:lnTo>
                  <a:lnTo>
                    <a:pt x="112" y="338"/>
                  </a:lnTo>
                  <a:lnTo>
                    <a:pt x="112" y="336"/>
                  </a:lnTo>
                  <a:lnTo>
                    <a:pt x="115" y="332"/>
                  </a:lnTo>
                  <a:lnTo>
                    <a:pt x="115" y="332"/>
                  </a:lnTo>
                  <a:lnTo>
                    <a:pt x="123" y="324"/>
                  </a:lnTo>
                  <a:lnTo>
                    <a:pt x="130" y="318"/>
                  </a:lnTo>
                  <a:lnTo>
                    <a:pt x="137" y="311"/>
                  </a:lnTo>
                  <a:lnTo>
                    <a:pt x="141" y="308"/>
                  </a:lnTo>
                  <a:lnTo>
                    <a:pt x="141" y="308"/>
                  </a:lnTo>
                  <a:lnTo>
                    <a:pt x="143" y="310"/>
                  </a:lnTo>
                  <a:lnTo>
                    <a:pt x="146" y="310"/>
                  </a:lnTo>
                  <a:lnTo>
                    <a:pt x="149" y="308"/>
                  </a:lnTo>
                  <a:lnTo>
                    <a:pt x="150" y="307"/>
                  </a:lnTo>
                  <a:lnTo>
                    <a:pt x="153" y="302"/>
                  </a:lnTo>
                  <a:lnTo>
                    <a:pt x="154" y="299"/>
                  </a:lnTo>
                  <a:lnTo>
                    <a:pt x="156" y="298"/>
                  </a:lnTo>
                  <a:lnTo>
                    <a:pt x="156" y="298"/>
                  </a:lnTo>
                  <a:lnTo>
                    <a:pt x="162" y="301"/>
                  </a:lnTo>
                  <a:lnTo>
                    <a:pt x="168" y="303"/>
                  </a:lnTo>
                  <a:lnTo>
                    <a:pt x="172" y="305"/>
                  </a:lnTo>
                  <a:lnTo>
                    <a:pt x="176" y="305"/>
                  </a:lnTo>
                  <a:lnTo>
                    <a:pt x="180" y="302"/>
                  </a:lnTo>
                  <a:lnTo>
                    <a:pt x="184" y="298"/>
                  </a:lnTo>
                  <a:lnTo>
                    <a:pt x="184" y="298"/>
                  </a:lnTo>
                  <a:lnTo>
                    <a:pt x="191" y="299"/>
                  </a:lnTo>
                  <a:lnTo>
                    <a:pt x="207" y="302"/>
                  </a:lnTo>
                  <a:lnTo>
                    <a:pt x="221" y="305"/>
                  </a:lnTo>
                  <a:lnTo>
                    <a:pt x="226" y="307"/>
                  </a:lnTo>
                  <a:lnTo>
                    <a:pt x="230" y="308"/>
                  </a:lnTo>
                  <a:lnTo>
                    <a:pt x="230" y="308"/>
                  </a:lnTo>
                  <a:lnTo>
                    <a:pt x="233" y="314"/>
                  </a:lnTo>
                  <a:lnTo>
                    <a:pt x="237" y="316"/>
                  </a:lnTo>
                  <a:lnTo>
                    <a:pt x="241" y="318"/>
                  </a:lnTo>
                  <a:lnTo>
                    <a:pt x="245" y="318"/>
                  </a:lnTo>
                  <a:lnTo>
                    <a:pt x="248" y="316"/>
                  </a:lnTo>
                  <a:lnTo>
                    <a:pt x="252" y="314"/>
                  </a:lnTo>
                  <a:lnTo>
                    <a:pt x="259" y="308"/>
                  </a:lnTo>
                  <a:lnTo>
                    <a:pt x="263" y="301"/>
                  </a:lnTo>
                  <a:lnTo>
                    <a:pt x="264" y="297"/>
                  </a:lnTo>
                  <a:lnTo>
                    <a:pt x="264" y="293"/>
                  </a:lnTo>
                  <a:lnTo>
                    <a:pt x="263" y="290"/>
                  </a:lnTo>
                  <a:lnTo>
                    <a:pt x="261" y="286"/>
                  </a:lnTo>
                  <a:lnTo>
                    <a:pt x="257" y="284"/>
                  </a:lnTo>
                  <a:lnTo>
                    <a:pt x="254" y="283"/>
                  </a:lnTo>
                  <a:lnTo>
                    <a:pt x="254" y="283"/>
                  </a:lnTo>
                  <a:lnTo>
                    <a:pt x="245" y="283"/>
                  </a:lnTo>
                  <a:lnTo>
                    <a:pt x="234" y="280"/>
                  </a:lnTo>
                  <a:lnTo>
                    <a:pt x="229" y="277"/>
                  </a:lnTo>
                  <a:lnTo>
                    <a:pt x="224" y="275"/>
                  </a:lnTo>
                  <a:lnTo>
                    <a:pt x="220" y="270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9" y="261"/>
                  </a:lnTo>
                  <a:lnTo>
                    <a:pt x="217" y="258"/>
                  </a:lnTo>
                  <a:lnTo>
                    <a:pt x="215" y="255"/>
                  </a:lnTo>
                  <a:lnTo>
                    <a:pt x="212" y="255"/>
                  </a:lnTo>
                  <a:lnTo>
                    <a:pt x="208" y="255"/>
                  </a:lnTo>
                  <a:lnTo>
                    <a:pt x="206" y="257"/>
                  </a:lnTo>
                  <a:lnTo>
                    <a:pt x="204" y="259"/>
                  </a:lnTo>
                  <a:lnTo>
                    <a:pt x="203" y="262"/>
                  </a:lnTo>
                  <a:lnTo>
                    <a:pt x="203" y="262"/>
                  </a:lnTo>
                  <a:lnTo>
                    <a:pt x="198" y="263"/>
                  </a:lnTo>
                  <a:lnTo>
                    <a:pt x="193" y="263"/>
                  </a:lnTo>
                  <a:lnTo>
                    <a:pt x="187" y="259"/>
                  </a:lnTo>
                  <a:lnTo>
                    <a:pt x="184" y="257"/>
                  </a:lnTo>
                  <a:lnTo>
                    <a:pt x="178" y="249"/>
                  </a:lnTo>
                  <a:lnTo>
                    <a:pt x="176" y="246"/>
                  </a:lnTo>
                  <a:lnTo>
                    <a:pt x="175" y="246"/>
                  </a:lnTo>
                  <a:lnTo>
                    <a:pt x="175" y="246"/>
                  </a:lnTo>
                  <a:lnTo>
                    <a:pt x="169" y="249"/>
                  </a:lnTo>
                  <a:lnTo>
                    <a:pt x="165" y="249"/>
                  </a:lnTo>
                  <a:lnTo>
                    <a:pt x="162" y="249"/>
                  </a:lnTo>
                  <a:lnTo>
                    <a:pt x="159" y="248"/>
                  </a:lnTo>
                  <a:lnTo>
                    <a:pt x="156" y="246"/>
                  </a:lnTo>
                  <a:lnTo>
                    <a:pt x="155" y="244"/>
                  </a:lnTo>
                  <a:lnTo>
                    <a:pt x="155" y="240"/>
                  </a:lnTo>
                  <a:lnTo>
                    <a:pt x="156" y="236"/>
                  </a:lnTo>
                  <a:lnTo>
                    <a:pt x="156" y="236"/>
                  </a:lnTo>
                  <a:lnTo>
                    <a:pt x="154" y="231"/>
                  </a:lnTo>
                  <a:lnTo>
                    <a:pt x="154" y="226"/>
                  </a:lnTo>
                  <a:lnTo>
                    <a:pt x="155" y="223"/>
                  </a:lnTo>
                  <a:lnTo>
                    <a:pt x="159" y="220"/>
                  </a:lnTo>
                  <a:lnTo>
                    <a:pt x="159" y="220"/>
                  </a:lnTo>
                  <a:lnTo>
                    <a:pt x="162" y="219"/>
                  </a:lnTo>
                  <a:lnTo>
                    <a:pt x="163" y="218"/>
                  </a:lnTo>
                  <a:lnTo>
                    <a:pt x="164" y="214"/>
                  </a:lnTo>
                  <a:lnTo>
                    <a:pt x="164" y="210"/>
                  </a:lnTo>
                  <a:lnTo>
                    <a:pt x="165" y="207"/>
                  </a:lnTo>
                  <a:lnTo>
                    <a:pt x="168" y="206"/>
                  </a:lnTo>
                  <a:lnTo>
                    <a:pt x="168" y="206"/>
                  </a:lnTo>
                  <a:lnTo>
                    <a:pt x="171" y="206"/>
                  </a:lnTo>
                  <a:lnTo>
                    <a:pt x="173" y="207"/>
                  </a:lnTo>
                  <a:lnTo>
                    <a:pt x="177" y="210"/>
                  </a:lnTo>
                  <a:lnTo>
                    <a:pt x="180" y="214"/>
                  </a:lnTo>
                  <a:lnTo>
                    <a:pt x="181" y="215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9" y="215"/>
                  </a:lnTo>
                  <a:lnTo>
                    <a:pt x="195" y="211"/>
                  </a:lnTo>
                  <a:lnTo>
                    <a:pt x="199" y="207"/>
                  </a:lnTo>
                  <a:lnTo>
                    <a:pt x="203" y="203"/>
                  </a:lnTo>
                  <a:lnTo>
                    <a:pt x="204" y="198"/>
                  </a:lnTo>
                  <a:lnTo>
                    <a:pt x="203" y="196"/>
                  </a:lnTo>
                  <a:lnTo>
                    <a:pt x="202" y="194"/>
                  </a:lnTo>
                  <a:lnTo>
                    <a:pt x="199" y="192"/>
                  </a:lnTo>
                  <a:lnTo>
                    <a:pt x="195" y="191"/>
                  </a:lnTo>
                  <a:lnTo>
                    <a:pt x="185" y="188"/>
                  </a:lnTo>
                  <a:lnTo>
                    <a:pt x="185" y="188"/>
                  </a:lnTo>
                  <a:lnTo>
                    <a:pt x="184" y="188"/>
                  </a:lnTo>
                  <a:lnTo>
                    <a:pt x="182" y="188"/>
                  </a:lnTo>
                  <a:lnTo>
                    <a:pt x="181" y="191"/>
                  </a:lnTo>
                  <a:lnTo>
                    <a:pt x="180" y="193"/>
                  </a:lnTo>
                  <a:lnTo>
                    <a:pt x="177" y="196"/>
                  </a:lnTo>
                  <a:lnTo>
                    <a:pt x="177" y="196"/>
                  </a:lnTo>
                  <a:lnTo>
                    <a:pt x="169" y="194"/>
                  </a:lnTo>
                  <a:lnTo>
                    <a:pt x="162" y="193"/>
                  </a:lnTo>
                  <a:lnTo>
                    <a:pt x="155" y="189"/>
                  </a:lnTo>
                  <a:lnTo>
                    <a:pt x="154" y="187"/>
                  </a:lnTo>
                  <a:lnTo>
                    <a:pt x="151" y="184"/>
                  </a:lnTo>
                  <a:lnTo>
                    <a:pt x="151" y="184"/>
                  </a:lnTo>
                  <a:lnTo>
                    <a:pt x="128" y="18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36" y="171"/>
                  </a:lnTo>
                  <a:lnTo>
                    <a:pt x="142" y="170"/>
                  </a:lnTo>
                  <a:lnTo>
                    <a:pt x="147" y="166"/>
                  </a:lnTo>
                  <a:lnTo>
                    <a:pt x="151" y="163"/>
                  </a:lnTo>
                  <a:lnTo>
                    <a:pt x="160" y="154"/>
                  </a:lnTo>
                  <a:lnTo>
                    <a:pt x="164" y="152"/>
                  </a:lnTo>
                  <a:lnTo>
                    <a:pt x="171" y="149"/>
                  </a:lnTo>
                  <a:lnTo>
                    <a:pt x="171" y="149"/>
                  </a:lnTo>
                  <a:lnTo>
                    <a:pt x="171" y="146"/>
                  </a:lnTo>
                  <a:lnTo>
                    <a:pt x="169" y="145"/>
                  </a:lnTo>
                  <a:lnTo>
                    <a:pt x="167" y="143"/>
                  </a:lnTo>
                  <a:lnTo>
                    <a:pt x="162" y="137"/>
                  </a:lnTo>
                  <a:lnTo>
                    <a:pt x="159" y="134"/>
                  </a:lnTo>
                  <a:lnTo>
                    <a:pt x="156" y="130"/>
                  </a:lnTo>
                  <a:lnTo>
                    <a:pt x="156" y="130"/>
                  </a:lnTo>
                  <a:lnTo>
                    <a:pt x="149" y="128"/>
                  </a:lnTo>
                  <a:lnTo>
                    <a:pt x="142" y="127"/>
                  </a:lnTo>
                  <a:lnTo>
                    <a:pt x="140" y="126"/>
                  </a:lnTo>
                  <a:lnTo>
                    <a:pt x="141" y="124"/>
                  </a:lnTo>
                  <a:lnTo>
                    <a:pt x="145" y="121"/>
                  </a:lnTo>
                  <a:lnTo>
                    <a:pt x="154" y="117"/>
                  </a:lnTo>
                  <a:lnTo>
                    <a:pt x="154" y="117"/>
                  </a:lnTo>
                  <a:lnTo>
                    <a:pt x="160" y="115"/>
                  </a:lnTo>
                  <a:lnTo>
                    <a:pt x="164" y="115"/>
                  </a:lnTo>
                  <a:lnTo>
                    <a:pt x="164" y="118"/>
                  </a:lnTo>
                  <a:lnTo>
                    <a:pt x="164" y="122"/>
                  </a:lnTo>
                  <a:lnTo>
                    <a:pt x="164" y="124"/>
                  </a:lnTo>
                  <a:lnTo>
                    <a:pt x="164" y="127"/>
                  </a:lnTo>
                  <a:lnTo>
                    <a:pt x="167" y="130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5" y="127"/>
                  </a:lnTo>
                  <a:lnTo>
                    <a:pt x="176" y="126"/>
                  </a:lnTo>
                  <a:lnTo>
                    <a:pt x="175" y="121"/>
                  </a:lnTo>
                  <a:lnTo>
                    <a:pt x="175" y="113"/>
                  </a:lnTo>
                  <a:lnTo>
                    <a:pt x="175" y="108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82" y="99"/>
                  </a:lnTo>
                  <a:lnTo>
                    <a:pt x="189" y="99"/>
                  </a:lnTo>
                  <a:lnTo>
                    <a:pt x="195" y="99"/>
                  </a:lnTo>
                  <a:lnTo>
                    <a:pt x="199" y="100"/>
                  </a:lnTo>
                  <a:lnTo>
                    <a:pt x="199" y="100"/>
                  </a:lnTo>
                  <a:lnTo>
                    <a:pt x="199" y="101"/>
                  </a:lnTo>
                  <a:lnTo>
                    <a:pt x="198" y="102"/>
                  </a:lnTo>
                  <a:lnTo>
                    <a:pt x="197" y="104"/>
                  </a:lnTo>
                  <a:lnTo>
                    <a:pt x="198" y="105"/>
                  </a:lnTo>
                  <a:lnTo>
                    <a:pt x="198" y="105"/>
                  </a:lnTo>
                  <a:lnTo>
                    <a:pt x="204" y="110"/>
                  </a:lnTo>
                  <a:lnTo>
                    <a:pt x="208" y="111"/>
                  </a:lnTo>
                  <a:lnTo>
                    <a:pt x="211" y="111"/>
                  </a:lnTo>
                  <a:lnTo>
                    <a:pt x="217" y="110"/>
                  </a:lnTo>
                  <a:lnTo>
                    <a:pt x="217" y="110"/>
                  </a:lnTo>
                  <a:lnTo>
                    <a:pt x="220" y="110"/>
                  </a:lnTo>
                  <a:lnTo>
                    <a:pt x="224" y="113"/>
                  </a:lnTo>
                  <a:lnTo>
                    <a:pt x="232" y="119"/>
                  </a:lnTo>
                  <a:lnTo>
                    <a:pt x="237" y="122"/>
                  </a:lnTo>
                  <a:lnTo>
                    <a:pt x="242" y="124"/>
                  </a:lnTo>
                  <a:lnTo>
                    <a:pt x="248" y="127"/>
                  </a:lnTo>
                  <a:lnTo>
                    <a:pt x="256" y="127"/>
                  </a:lnTo>
                  <a:lnTo>
                    <a:pt x="256" y="127"/>
                  </a:lnTo>
                  <a:lnTo>
                    <a:pt x="260" y="124"/>
                  </a:lnTo>
                  <a:lnTo>
                    <a:pt x="263" y="123"/>
                  </a:lnTo>
                  <a:lnTo>
                    <a:pt x="263" y="121"/>
                  </a:lnTo>
                  <a:lnTo>
                    <a:pt x="261" y="119"/>
                  </a:lnTo>
                  <a:lnTo>
                    <a:pt x="260" y="117"/>
                  </a:lnTo>
                  <a:lnTo>
                    <a:pt x="260" y="114"/>
                  </a:lnTo>
                  <a:lnTo>
                    <a:pt x="261" y="113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72" y="110"/>
                  </a:lnTo>
                  <a:lnTo>
                    <a:pt x="282" y="111"/>
                  </a:lnTo>
                  <a:lnTo>
                    <a:pt x="294" y="113"/>
                  </a:lnTo>
                  <a:lnTo>
                    <a:pt x="304" y="113"/>
                  </a:lnTo>
                  <a:lnTo>
                    <a:pt x="304" y="113"/>
                  </a:lnTo>
                  <a:lnTo>
                    <a:pt x="304" y="117"/>
                  </a:lnTo>
                  <a:lnTo>
                    <a:pt x="302" y="121"/>
                  </a:lnTo>
                  <a:lnTo>
                    <a:pt x="302" y="123"/>
                  </a:lnTo>
                  <a:lnTo>
                    <a:pt x="302" y="126"/>
                  </a:lnTo>
                  <a:lnTo>
                    <a:pt x="303" y="130"/>
                  </a:lnTo>
                  <a:lnTo>
                    <a:pt x="305" y="132"/>
                  </a:lnTo>
                  <a:lnTo>
                    <a:pt x="305" y="132"/>
                  </a:lnTo>
                  <a:lnTo>
                    <a:pt x="305" y="135"/>
                  </a:lnTo>
                  <a:lnTo>
                    <a:pt x="308" y="136"/>
                  </a:lnTo>
                  <a:lnTo>
                    <a:pt x="311" y="136"/>
                  </a:lnTo>
                  <a:lnTo>
                    <a:pt x="314" y="135"/>
                  </a:lnTo>
                  <a:lnTo>
                    <a:pt x="318" y="132"/>
                  </a:lnTo>
                  <a:lnTo>
                    <a:pt x="321" y="128"/>
                  </a:lnTo>
                  <a:lnTo>
                    <a:pt x="324" y="124"/>
                  </a:lnTo>
                  <a:lnTo>
                    <a:pt x="324" y="121"/>
                  </a:lnTo>
                  <a:lnTo>
                    <a:pt x="324" y="121"/>
                  </a:lnTo>
                  <a:lnTo>
                    <a:pt x="324" y="117"/>
                  </a:lnTo>
                  <a:lnTo>
                    <a:pt x="324" y="111"/>
                  </a:lnTo>
                  <a:lnTo>
                    <a:pt x="325" y="110"/>
                  </a:lnTo>
                  <a:lnTo>
                    <a:pt x="327" y="108"/>
                  </a:lnTo>
                  <a:lnTo>
                    <a:pt x="331" y="105"/>
                  </a:lnTo>
                  <a:lnTo>
                    <a:pt x="337" y="104"/>
                  </a:lnTo>
                  <a:lnTo>
                    <a:pt x="337" y="104"/>
                  </a:lnTo>
                  <a:lnTo>
                    <a:pt x="342" y="104"/>
                  </a:lnTo>
                  <a:lnTo>
                    <a:pt x="351" y="104"/>
                  </a:lnTo>
                  <a:lnTo>
                    <a:pt x="362" y="102"/>
                  </a:lnTo>
                  <a:lnTo>
                    <a:pt x="374" y="104"/>
                  </a:lnTo>
                  <a:lnTo>
                    <a:pt x="374" y="104"/>
                  </a:lnTo>
                  <a:lnTo>
                    <a:pt x="379" y="104"/>
                  </a:lnTo>
                  <a:lnTo>
                    <a:pt x="384" y="102"/>
                  </a:lnTo>
                  <a:lnTo>
                    <a:pt x="387" y="100"/>
                  </a:lnTo>
                  <a:lnTo>
                    <a:pt x="388" y="97"/>
                  </a:lnTo>
                  <a:lnTo>
                    <a:pt x="388" y="93"/>
                  </a:lnTo>
                  <a:lnTo>
                    <a:pt x="388" y="89"/>
                  </a:lnTo>
                  <a:lnTo>
                    <a:pt x="388" y="89"/>
                  </a:lnTo>
                  <a:lnTo>
                    <a:pt x="392" y="88"/>
                  </a:lnTo>
                  <a:lnTo>
                    <a:pt x="397" y="88"/>
                  </a:lnTo>
                  <a:lnTo>
                    <a:pt x="413" y="88"/>
                  </a:lnTo>
                  <a:lnTo>
                    <a:pt x="422" y="88"/>
                  </a:lnTo>
                  <a:lnTo>
                    <a:pt x="432" y="86"/>
                  </a:lnTo>
                  <a:lnTo>
                    <a:pt x="445" y="83"/>
                  </a:lnTo>
                  <a:lnTo>
                    <a:pt x="461" y="76"/>
                  </a:lnTo>
                  <a:lnTo>
                    <a:pt x="461" y="76"/>
                  </a:lnTo>
                  <a:lnTo>
                    <a:pt x="464" y="79"/>
                  </a:lnTo>
                  <a:lnTo>
                    <a:pt x="467" y="84"/>
                  </a:lnTo>
                  <a:lnTo>
                    <a:pt x="473" y="89"/>
                  </a:lnTo>
                  <a:lnTo>
                    <a:pt x="475" y="91"/>
                  </a:lnTo>
                  <a:lnTo>
                    <a:pt x="479" y="92"/>
                  </a:lnTo>
                  <a:lnTo>
                    <a:pt x="479" y="92"/>
                  </a:lnTo>
                  <a:lnTo>
                    <a:pt x="482" y="91"/>
                  </a:lnTo>
                  <a:lnTo>
                    <a:pt x="484" y="89"/>
                  </a:lnTo>
                  <a:lnTo>
                    <a:pt x="484" y="87"/>
                  </a:lnTo>
                  <a:lnTo>
                    <a:pt x="484" y="84"/>
                  </a:lnTo>
                  <a:lnTo>
                    <a:pt x="482" y="76"/>
                  </a:lnTo>
                  <a:lnTo>
                    <a:pt x="482" y="76"/>
                  </a:lnTo>
                  <a:lnTo>
                    <a:pt x="483" y="74"/>
                  </a:lnTo>
                  <a:lnTo>
                    <a:pt x="487" y="71"/>
                  </a:lnTo>
                  <a:lnTo>
                    <a:pt x="495" y="70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8" y="70"/>
                  </a:lnTo>
                  <a:lnTo>
                    <a:pt x="511" y="69"/>
                  </a:lnTo>
                  <a:lnTo>
                    <a:pt x="519" y="67"/>
                  </a:lnTo>
                  <a:lnTo>
                    <a:pt x="530" y="67"/>
                  </a:lnTo>
                  <a:lnTo>
                    <a:pt x="530" y="67"/>
                  </a:lnTo>
                  <a:lnTo>
                    <a:pt x="533" y="65"/>
                  </a:lnTo>
                  <a:lnTo>
                    <a:pt x="537" y="64"/>
                  </a:lnTo>
                  <a:lnTo>
                    <a:pt x="541" y="62"/>
                  </a:lnTo>
                  <a:lnTo>
                    <a:pt x="541" y="62"/>
                  </a:lnTo>
                  <a:lnTo>
                    <a:pt x="553" y="62"/>
                  </a:lnTo>
                  <a:lnTo>
                    <a:pt x="561" y="62"/>
                  </a:lnTo>
                  <a:lnTo>
                    <a:pt x="570" y="65"/>
                  </a:lnTo>
                  <a:lnTo>
                    <a:pt x="570" y="65"/>
                  </a:lnTo>
                  <a:lnTo>
                    <a:pt x="578" y="60"/>
                  </a:lnTo>
                  <a:lnTo>
                    <a:pt x="585" y="56"/>
                  </a:lnTo>
                  <a:lnTo>
                    <a:pt x="589" y="54"/>
                  </a:lnTo>
                  <a:lnTo>
                    <a:pt x="593" y="54"/>
                  </a:lnTo>
                  <a:lnTo>
                    <a:pt x="597" y="56"/>
                  </a:lnTo>
                  <a:lnTo>
                    <a:pt x="601" y="60"/>
                  </a:lnTo>
                  <a:lnTo>
                    <a:pt x="601" y="60"/>
                  </a:lnTo>
                  <a:lnTo>
                    <a:pt x="606" y="66"/>
                  </a:lnTo>
                  <a:lnTo>
                    <a:pt x="610" y="70"/>
                  </a:lnTo>
                  <a:lnTo>
                    <a:pt x="614" y="71"/>
                  </a:lnTo>
                  <a:lnTo>
                    <a:pt x="616" y="70"/>
                  </a:lnTo>
                  <a:lnTo>
                    <a:pt x="618" y="69"/>
                  </a:lnTo>
                  <a:lnTo>
                    <a:pt x="620" y="64"/>
                  </a:lnTo>
                  <a:lnTo>
                    <a:pt x="623" y="56"/>
                  </a:lnTo>
                  <a:lnTo>
                    <a:pt x="622" y="43"/>
                  </a:lnTo>
                  <a:lnTo>
                    <a:pt x="620" y="27"/>
                  </a:lnTo>
                  <a:lnTo>
                    <a:pt x="620" y="27"/>
                  </a:lnTo>
                  <a:lnTo>
                    <a:pt x="625" y="26"/>
                  </a:lnTo>
                  <a:lnTo>
                    <a:pt x="632" y="25"/>
                  </a:lnTo>
                  <a:lnTo>
                    <a:pt x="641" y="26"/>
                  </a:lnTo>
                  <a:lnTo>
                    <a:pt x="649" y="26"/>
                  </a:lnTo>
                  <a:lnTo>
                    <a:pt x="653" y="26"/>
                  </a:lnTo>
                  <a:lnTo>
                    <a:pt x="654" y="25"/>
                  </a:lnTo>
                  <a:lnTo>
                    <a:pt x="654" y="25"/>
                  </a:lnTo>
                  <a:lnTo>
                    <a:pt x="657" y="21"/>
                  </a:lnTo>
                  <a:lnTo>
                    <a:pt x="657" y="19"/>
                  </a:lnTo>
                  <a:lnTo>
                    <a:pt x="655" y="18"/>
                  </a:lnTo>
                  <a:lnTo>
                    <a:pt x="653" y="17"/>
                  </a:lnTo>
                  <a:lnTo>
                    <a:pt x="650" y="14"/>
                  </a:lnTo>
                  <a:lnTo>
                    <a:pt x="649" y="13"/>
                  </a:lnTo>
                  <a:lnTo>
                    <a:pt x="650" y="10"/>
                  </a:lnTo>
                  <a:lnTo>
                    <a:pt x="650" y="10"/>
                  </a:lnTo>
                  <a:lnTo>
                    <a:pt x="653" y="8"/>
                  </a:lnTo>
                  <a:lnTo>
                    <a:pt x="655" y="8"/>
                  </a:lnTo>
                  <a:lnTo>
                    <a:pt x="659" y="8"/>
                  </a:lnTo>
                  <a:lnTo>
                    <a:pt x="663" y="10"/>
                  </a:lnTo>
                  <a:lnTo>
                    <a:pt x="672" y="14"/>
                  </a:lnTo>
                  <a:lnTo>
                    <a:pt x="683" y="18"/>
                  </a:lnTo>
                  <a:lnTo>
                    <a:pt x="683" y="18"/>
                  </a:lnTo>
                  <a:lnTo>
                    <a:pt x="686" y="14"/>
                  </a:lnTo>
                  <a:lnTo>
                    <a:pt x="688" y="10"/>
                  </a:lnTo>
                  <a:lnTo>
                    <a:pt x="690" y="4"/>
                  </a:lnTo>
                  <a:lnTo>
                    <a:pt x="692" y="1"/>
                  </a:lnTo>
                  <a:lnTo>
                    <a:pt x="694" y="0"/>
                  </a:lnTo>
                  <a:lnTo>
                    <a:pt x="699" y="0"/>
                  </a:lnTo>
                  <a:lnTo>
                    <a:pt x="706" y="1"/>
                  </a:lnTo>
                  <a:lnTo>
                    <a:pt x="706" y="1"/>
                  </a:lnTo>
                  <a:lnTo>
                    <a:pt x="707" y="3"/>
                  </a:lnTo>
                  <a:lnTo>
                    <a:pt x="707" y="5"/>
                  </a:lnTo>
                  <a:lnTo>
                    <a:pt x="706" y="10"/>
                  </a:lnTo>
                  <a:lnTo>
                    <a:pt x="706" y="13"/>
                  </a:lnTo>
                  <a:lnTo>
                    <a:pt x="707" y="14"/>
                  </a:lnTo>
                  <a:lnTo>
                    <a:pt x="710" y="14"/>
                  </a:lnTo>
                  <a:lnTo>
                    <a:pt x="716" y="14"/>
                  </a:lnTo>
                  <a:lnTo>
                    <a:pt x="716" y="14"/>
                  </a:lnTo>
                  <a:lnTo>
                    <a:pt x="719" y="32"/>
                  </a:lnTo>
                  <a:lnTo>
                    <a:pt x="720" y="44"/>
                  </a:lnTo>
                  <a:lnTo>
                    <a:pt x="720" y="53"/>
                  </a:lnTo>
                  <a:lnTo>
                    <a:pt x="720" y="53"/>
                  </a:lnTo>
                  <a:lnTo>
                    <a:pt x="725" y="66"/>
                  </a:lnTo>
                  <a:lnTo>
                    <a:pt x="729" y="74"/>
                  </a:lnTo>
                  <a:lnTo>
                    <a:pt x="730" y="79"/>
                  </a:lnTo>
                  <a:lnTo>
                    <a:pt x="730" y="79"/>
                  </a:lnTo>
                  <a:lnTo>
                    <a:pt x="727" y="82"/>
                  </a:lnTo>
                  <a:lnTo>
                    <a:pt x="720" y="84"/>
                  </a:lnTo>
                  <a:lnTo>
                    <a:pt x="712" y="87"/>
                  </a:lnTo>
                  <a:lnTo>
                    <a:pt x="712" y="87"/>
                  </a:lnTo>
                  <a:lnTo>
                    <a:pt x="719" y="91"/>
                  </a:lnTo>
                  <a:lnTo>
                    <a:pt x="728" y="97"/>
                  </a:lnTo>
                  <a:lnTo>
                    <a:pt x="737" y="106"/>
                  </a:lnTo>
                  <a:lnTo>
                    <a:pt x="746" y="115"/>
                  </a:lnTo>
                  <a:lnTo>
                    <a:pt x="746" y="115"/>
                  </a:lnTo>
                  <a:lnTo>
                    <a:pt x="725" y="121"/>
                  </a:lnTo>
                  <a:lnTo>
                    <a:pt x="716" y="128"/>
                  </a:lnTo>
                  <a:lnTo>
                    <a:pt x="702" y="134"/>
                  </a:lnTo>
                  <a:lnTo>
                    <a:pt x="707" y="145"/>
                  </a:lnTo>
                  <a:lnTo>
                    <a:pt x="711" y="149"/>
                  </a:lnTo>
                  <a:lnTo>
                    <a:pt x="714" y="172"/>
                  </a:lnTo>
                  <a:lnTo>
                    <a:pt x="727" y="172"/>
                  </a:lnTo>
                  <a:lnTo>
                    <a:pt x="728" y="197"/>
                  </a:lnTo>
                  <a:lnTo>
                    <a:pt x="717" y="209"/>
                  </a:lnTo>
                  <a:lnTo>
                    <a:pt x="719" y="229"/>
                  </a:lnTo>
                  <a:lnTo>
                    <a:pt x="734" y="229"/>
                  </a:lnTo>
                  <a:lnTo>
                    <a:pt x="734" y="229"/>
                  </a:lnTo>
                  <a:lnTo>
                    <a:pt x="736" y="288"/>
                  </a:lnTo>
                  <a:lnTo>
                    <a:pt x="736" y="288"/>
                  </a:lnTo>
                  <a:lnTo>
                    <a:pt x="746" y="293"/>
                  </a:lnTo>
                  <a:lnTo>
                    <a:pt x="752" y="297"/>
                  </a:lnTo>
                  <a:lnTo>
                    <a:pt x="752" y="297"/>
                  </a:lnTo>
                  <a:lnTo>
                    <a:pt x="752" y="308"/>
                  </a:lnTo>
                  <a:lnTo>
                    <a:pt x="734" y="308"/>
                  </a:lnTo>
                  <a:lnTo>
                    <a:pt x="712" y="314"/>
                  </a:lnTo>
                  <a:lnTo>
                    <a:pt x="714" y="329"/>
                  </a:lnTo>
                  <a:lnTo>
                    <a:pt x="743" y="332"/>
                  </a:lnTo>
                  <a:lnTo>
                    <a:pt x="741" y="347"/>
                  </a:lnTo>
                  <a:lnTo>
                    <a:pt x="719" y="347"/>
                  </a:lnTo>
                  <a:lnTo>
                    <a:pt x="720" y="371"/>
                  </a:lnTo>
                  <a:lnTo>
                    <a:pt x="707" y="371"/>
                  </a:lnTo>
                  <a:lnTo>
                    <a:pt x="705" y="434"/>
                  </a:lnTo>
                  <a:lnTo>
                    <a:pt x="702" y="477"/>
                  </a:lnTo>
                  <a:lnTo>
                    <a:pt x="702" y="477"/>
                  </a:lnTo>
                  <a:lnTo>
                    <a:pt x="695" y="482"/>
                  </a:lnTo>
                  <a:lnTo>
                    <a:pt x="688" y="490"/>
                  </a:lnTo>
                  <a:lnTo>
                    <a:pt x="688" y="490"/>
                  </a:lnTo>
                  <a:lnTo>
                    <a:pt x="685" y="499"/>
                  </a:lnTo>
                  <a:lnTo>
                    <a:pt x="683" y="509"/>
                  </a:lnTo>
                  <a:lnTo>
                    <a:pt x="680" y="524"/>
                  </a:lnTo>
                  <a:lnTo>
                    <a:pt x="675" y="539"/>
                  </a:lnTo>
                  <a:lnTo>
                    <a:pt x="675" y="539"/>
                  </a:lnTo>
                  <a:lnTo>
                    <a:pt x="651" y="555"/>
                  </a:lnTo>
                  <a:lnTo>
                    <a:pt x="633" y="555"/>
                  </a:lnTo>
                  <a:lnTo>
                    <a:pt x="635" y="577"/>
                  </a:lnTo>
                  <a:lnTo>
                    <a:pt x="649" y="578"/>
                  </a:lnTo>
                  <a:lnTo>
                    <a:pt x="658" y="595"/>
                  </a:lnTo>
                  <a:lnTo>
                    <a:pt x="649" y="613"/>
                  </a:lnTo>
                  <a:lnTo>
                    <a:pt x="649" y="630"/>
                  </a:lnTo>
                  <a:lnTo>
                    <a:pt x="649" y="630"/>
                  </a:lnTo>
                  <a:lnTo>
                    <a:pt x="635" y="643"/>
                  </a:lnTo>
                  <a:lnTo>
                    <a:pt x="635" y="643"/>
                  </a:lnTo>
                  <a:lnTo>
                    <a:pt x="640" y="652"/>
                  </a:lnTo>
                  <a:lnTo>
                    <a:pt x="642" y="658"/>
                  </a:lnTo>
                  <a:lnTo>
                    <a:pt x="642" y="660"/>
                  </a:lnTo>
                  <a:lnTo>
                    <a:pt x="642" y="662"/>
                  </a:lnTo>
                  <a:lnTo>
                    <a:pt x="637" y="667"/>
                  </a:lnTo>
                  <a:lnTo>
                    <a:pt x="637" y="667"/>
                  </a:lnTo>
                  <a:lnTo>
                    <a:pt x="649" y="675"/>
                  </a:lnTo>
                  <a:lnTo>
                    <a:pt x="655" y="682"/>
                  </a:lnTo>
                  <a:lnTo>
                    <a:pt x="658" y="684"/>
                  </a:lnTo>
                  <a:lnTo>
                    <a:pt x="659" y="688"/>
                  </a:lnTo>
                  <a:lnTo>
                    <a:pt x="659" y="699"/>
                  </a:lnTo>
                  <a:lnTo>
                    <a:pt x="659" y="699"/>
                  </a:lnTo>
                  <a:lnTo>
                    <a:pt x="658" y="709"/>
                  </a:lnTo>
                  <a:lnTo>
                    <a:pt x="657" y="715"/>
                  </a:lnTo>
                  <a:lnTo>
                    <a:pt x="651" y="724"/>
                  </a:lnTo>
                  <a:lnTo>
                    <a:pt x="651" y="724"/>
                  </a:lnTo>
                  <a:lnTo>
                    <a:pt x="654" y="730"/>
                  </a:lnTo>
                  <a:lnTo>
                    <a:pt x="657" y="734"/>
                  </a:lnTo>
                  <a:lnTo>
                    <a:pt x="659" y="737"/>
                  </a:lnTo>
                  <a:lnTo>
                    <a:pt x="659" y="737"/>
                  </a:lnTo>
                  <a:lnTo>
                    <a:pt x="667" y="740"/>
                  </a:lnTo>
                  <a:lnTo>
                    <a:pt x="676" y="741"/>
                  </a:lnTo>
                  <a:lnTo>
                    <a:pt x="676" y="741"/>
                  </a:lnTo>
                  <a:lnTo>
                    <a:pt x="679" y="739"/>
                  </a:lnTo>
                  <a:lnTo>
                    <a:pt x="681" y="736"/>
                  </a:lnTo>
                  <a:lnTo>
                    <a:pt x="685" y="727"/>
                  </a:lnTo>
                  <a:lnTo>
                    <a:pt x="688" y="719"/>
                  </a:lnTo>
                  <a:lnTo>
                    <a:pt x="692" y="713"/>
                  </a:lnTo>
                  <a:lnTo>
                    <a:pt x="692" y="713"/>
                  </a:lnTo>
                  <a:lnTo>
                    <a:pt x="702" y="721"/>
                  </a:lnTo>
                  <a:lnTo>
                    <a:pt x="706" y="723"/>
                  </a:lnTo>
                  <a:lnTo>
                    <a:pt x="708" y="726"/>
                  </a:lnTo>
                  <a:lnTo>
                    <a:pt x="710" y="728"/>
                  </a:lnTo>
                  <a:lnTo>
                    <a:pt x="710" y="732"/>
                  </a:lnTo>
                  <a:lnTo>
                    <a:pt x="710" y="740"/>
                  </a:lnTo>
                  <a:lnTo>
                    <a:pt x="710" y="740"/>
                  </a:lnTo>
                  <a:lnTo>
                    <a:pt x="711" y="743"/>
                  </a:lnTo>
                  <a:lnTo>
                    <a:pt x="714" y="745"/>
                  </a:lnTo>
                  <a:lnTo>
                    <a:pt x="716" y="745"/>
                  </a:lnTo>
                  <a:lnTo>
                    <a:pt x="719" y="745"/>
                  </a:lnTo>
                  <a:lnTo>
                    <a:pt x="725" y="744"/>
                  </a:lnTo>
                  <a:lnTo>
                    <a:pt x="728" y="744"/>
                  </a:lnTo>
                  <a:lnTo>
                    <a:pt x="732" y="745"/>
                  </a:lnTo>
                  <a:lnTo>
                    <a:pt x="732" y="745"/>
                  </a:lnTo>
                  <a:lnTo>
                    <a:pt x="741" y="770"/>
                  </a:lnTo>
                  <a:lnTo>
                    <a:pt x="755" y="765"/>
                  </a:lnTo>
                  <a:lnTo>
                    <a:pt x="776" y="778"/>
                  </a:lnTo>
                  <a:lnTo>
                    <a:pt x="781" y="775"/>
                  </a:lnTo>
                  <a:lnTo>
                    <a:pt x="789" y="783"/>
                  </a:lnTo>
                  <a:lnTo>
                    <a:pt x="819" y="772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5" y="796"/>
                  </a:lnTo>
                  <a:lnTo>
                    <a:pt x="820" y="805"/>
                  </a:lnTo>
                  <a:lnTo>
                    <a:pt x="820" y="805"/>
                  </a:lnTo>
                  <a:lnTo>
                    <a:pt x="833" y="826"/>
                  </a:lnTo>
                  <a:lnTo>
                    <a:pt x="833" y="826"/>
                  </a:lnTo>
                  <a:lnTo>
                    <a:pt x="855" y="816"/>
                  </a:lnTo>
                  <a:lnTo>
                    <a:pt x="865" y="814"/>
                  </a:lnTo>
                  <a:lnTo>
                    <a:pt x="873" y="811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901" y="805"/>
                  </a:lnTo>
                  <a:lnTo>
                    <a:pt x="912" y="805"/>
                  </a:lnTo>
                  <a:lnTo>
                    <a:pt x="920" y="803"/>
                  </a:lnTo>
                  <a:lnTo>
                    <a:pt x="920" y="803"/>
                  </a:lnTo>
                  <a:lnTo>
                    <a:pt x="925" y="801"/>
                  </a:lnTo>
                  <a:lnTo>
                    <a:pt x="930" y="797"/>
                  </a:lnTo>
                  <a:lnTo>
                    <a:pt x="935" y="791"/>
                  </a:lnTo>
                  <a:lnTo>
                    <a:pt x="935" y="791"/>
                  </a:lnTo>
                  <a:lnTo>
                    <a:pt x="936" y="793"/>
                  </a:lnTo>
                  <a:lnTo>
                    <a:pt x="938" y="794"/>
                  </a:lnTo>
                  <a:lnTo>
                    <a:pt x="942" y="796"/>
                  </a:lnTo>
                  <a:lnTo>
                    <a:pt x="942" y="796"/>
                  </a:lnTo>
                  <a:lnTo>
                    <a:pt x="944" y="797"/>
                  </a:lnTo>
                  <a:lnTo>
                    <a:pt x="946" y="801"/>
                  </a:lnTo>
                  <a:lnTo>
                    <a:pt x="947" y="803"/>
                  </a:lnTo>
                  <a:lnTo>
                    <a:pt x="951" y="807"/>
                  </a:lnTo>
                  <a:lnTo>
                    <a:pt x="951" y="807"/>
                  </a:lnTo>
                  <a:lnTo>
                    <a:pt x="953" y="809"/>
                  </a:lnTo>
                  <a:lnTo>
                    <a:pt x="955" y="810"/>
                  </a:lnTo>
                  <a:lnTo>
                    <a:pt x="955" y="814"/>
                  </a:lnTo>
                  <a:lnTo>
                    <a:pt x="952" y="818"/>
                  </a:lnTo>
                  <a:lnTo>
                    <a:pt x="952" y="818"/>
                  </a:lnTo>
                  <a:lnTo>
                    <a:pt x="949" y="822"/>
                  </a:lnTo>
                  <a:lnTo>
                    <a:pt x="947" y="827"/>
                  </a:lnTo>
                  <a:lnTo>
                    <a:pt x="940" y="833"/>
                  </a:lnTo>
                  <a:lnTo>
                    <a:pt x="931" y="841"/>
                  </a:lnTo>
                  <a:lnTo>
                    <a:pt x="931" y="841"/>
                  </a:lnTo>
                  <a:lnTo>
                    <a:pt x="918" y="848"/>
                  </a:lnTo>
                  <a:lnTo>
                    <a:pt x="911" y="851"/>
                  </a:lnTo>
                  <a:lnTo>
                    <a:pt x="905" y="853"/>
                  </a:lnTo>
                  <a:lnTo>
                    <a:pt x="899" y="851"/>
                  </a:lnTo>
                  <a:lnTo>
                    <a:pt x="899" y="851"/>
                  </a:lnTo>
                  <a:lnTo>
                    <a:pt x="892" y="855"/>
                  </a:lnTo>
                  <a:lnTo>
                    <a:pt x="892" y="857"/>
                  </a:lnTo>
                  <a:lnTo>
                    <a:pt x="894" y="861"/>
                  </a:lnTo>
                  <a:lnTo>
                    <a:pt x="894" y="861"/>
                  </a:lnTo>
                  <a:lnTo>
                    <a:pt x="892" y="864"/>
                  </a:lnTo>
                  <a:lnTo>
                    <a:pt x="892" y="867"/>
                  </a:lnTo>
                  <a:lnTo>
                    <a:pt x="892" y="870"/>
                  </a:lnTo>
                  <a:lnTo>
                    <a:pt x="892" y="870"/>
                  </a:lnTo>
                  <a:lnTo>
                    <a:pt x="894" y="873"/>
                  </a:lnTo>
                  <a:lnTo>
                    <a:pt x="895" y="875"/>
                  </a:lnTo>
                  <a:lnTo>
                    <a:pt x="899" y="875"/>
                  </a:lnTo>
                  <a:lnTo>
                    <a:pt x="899" y="875"/>
                  </a:lnTo>
                  <a:lnTo>
                    <a:pt x="885" y="894"/>
                  </a:lnTo>
                  <a:lnTo>
                    <a:pt x="872" y="912"/>
                  </a:lnTo>
                  <a:lnTo>
                    <a:pt x="872" y="912"/>
                  </a:lnTo>
                  <a:lnTo>
                    <a:pt x="867" y="908"/>
                  </a:lnTo>
                  <a:lnTo>
                    <a:pt x="867" y="908"/>
                  </a:lnTo>
                  <a:lnTo>
                    <a:pt x="848" y="934"/>
                  </a:lnTo>
                  <a:lnTo>
                    <a:pt x="837" y="953"/>
                  </a:lnTo>
                  <a:lnTo>
                    <a:pt x="824" y="967"/>
                  </a:lnTo>
                  <a:lnTo>
                    <a:pt x="824" y="967"/>
                  </a:lnTo>
                  <a:lnTo>
                    <a:pt x="816" y="971"/>
                  </a:lnTo>
                  <a:lnTo>
                    <a:pt x="808" y="976"/>
                  </a:lnTo>
                  <a:lnTo>
                    <a:pt x="794" y="989"/>
                  </a:lnTo>
                  <a:lnTo>
                    <a:pt x="782" y="1000"/>
                  </a:lnTo>
                  <a:lnTo>
                    <a:pt x="778" y="1006"/>
                  </a:lnTo>
                  <a:lnTo>
                    <a:pt x="778" y="1006"/>
                  </a:lnTo>
                  <a:lnTo>
                    <a:pt x="772" y="1020"/>
                  </a:lnTo>
                  <a:lnTo>
                    <a:pt x="767" y="1032"/>
                  </a:lnTo>
                  <a:lnTo>
                    <a:pt x="763" y="1038"/>
                  </a:lnTo>
                  <a:lnTo>
                    <a:pt x="763" y="1038"/>
                  </a:lnTo>
                  <a:lnTo>
                    <a:pt x="749" y="1042"/>
                  </a:lnTo>
                  <a:lnTo>
                    <a:pt x="749" y="1042"/>
                  </a:lnTo>
                  <a:lnTo>
                    <a:pt x="729" y="1065"/>
                  </a:lnTo>
                  <a:lnTo>
                    <a:pt x="715" y="1081"/>
                  </a:lnTo>
                  <a:lnTo>
                    <a:pt x="705" y="1090"/>
                  </a:lnTo>
                  <a:lnTo>
                    <a:pt x="705" y="1090"/>
                  </a:lnTo>
                  <a:lnTo>
                    <a:pt x="686" y="1090"/>
                  </a:lnTo>
                  <a:lnTo>
                    <a:pt x="676" y="1090"/>
                  </a:lnTo>
                  <a:lnTo>
                    <a:pt x="672" y="1090"/>
                  </a:lnTo>
                  <a:lnTo>
                    <a:pt x="670" y="1091"/>
                  </a:lnTo>
                  <a:lnTo>
                    <a:pt x="670" y="1091"/>
                  </a:lnTo>
                  <a:lnTo>
                    <a:pt x="668" y="1094"/>
                  </a:lnTo>
                  <a:lnTo>
                    <a:pt x="668" y="1099"/>
                  </a:lnTo>
                  <a:lnTo>
                    <a:pt x="666" y="1111"/>
                  </a:lnTo>
                  <a:lnTo>
                    <a:pt x="666" y="1111"/>
                  </a:lnTo>
                  <a:lnTo>
                    <a:pt x="653" y="1112"/>
                  </a:lnTo>
                  <a:lnTo>
                    <a:pt x="645" y="1115"/>
                  </a:lnTo>
                  <a:lnTo>
                    <a:pt x="640" y="1118"/>
                  </a:lnTo>
                  <a:lnTo>
                    <a:pt x="631" y="1120"/>
                  </a:lnTo>
                  <a:lnTo>
                    <a:pt x="631" y="1120"/>
                  </a:lnTo>
                  <a:lnTo>
                    <a:pt x="585" y="1109"/>
                  </a:lnTo>
                  <a:lnTo>
                    <a:pt x="541" y="1098"/>
                  </a:lnTo>
                  <a:lnTo>
                    <a:pt x="541" y="1098"/>
                  </a:lnTo>
                  <a:lnTo>
                    <a:pt x="536" y="1122"/>
                  </a:lnTo>
                  <a:lnTo>
                    <a:pt x="533" y="1147"/>
                  </a:lnTo>
                  <a:lnTo>
                    <a:pt x="504" y="1146"/>
                  </a:lnTo>
                  <a:lnTo>
                    <a:pt x="504" y="1146"/>
                  </a:lnTo>
                  <a:lnTo>
                    <a:pt x="508" y="1152"/>
                  </a:lnTo>
                  <a:lnTo>
                    <a:pt x="513" y="1159"/>
                  </a:lnTo>
                  <a:lnTo>
                    <a:pt x="513" y="1159"/>
                  </a:lnTo>
                  <a:lnTo>
                    <a:pt x="509" y="1164"/>
                  </a:lnTo>
                  <a:lnTo>
                    <a:pt x="506" y="1169"/>
                  </a:lnTo>
                  <a:lnTo>
                    <a:pt x="506" y="1169"/>
                  </a:lnTo>
                  <a:lnTo>
                    <a:pt x="515" y="1177"/>
                  </a:lnTo>
                  <a:lnTo>
                    <a:pt x="515" y="1177"/>
                  </a:lnTo>
                  <a:lnTo>
                    <a:pt x="509" y="1179"/>
                  </a:lnTo>
                  <a:lnTo>
                    <a:pt x="497" y="1182"/>
                  </a:lnTo>
                  <a:lnTo>
                    <a:pt x="473" y="1186"/>
                  </a:lnTo>
                  <a:lnTo>
                    <a:pt x="473" y="1186"/>
                  </a:lnTo>
                  <a:lnTo>
                    <a:pt x="475" y="1195"/>
                  </a:lnTo>
                  <a:lnTo>
                    <a:pt x="478" y="1209"/>
                  </a:lnTo>
                  <a:lnTo>
                    <a:pt x="478" y="1209"/>
                  </a:lnTo>
                  <a:lnTo>
                    <a:pt x="458" y="1226"/>
                  </a:lnTo>
                  <a:lnTo>
                    <a:pt x="443" y="1239"/>
                  </a:lnTo>
                  <a:lnTo>
                    <a:pt x="438" y="12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2" name="Freeform 190"/>
            <p:cNvSpPr>
              <a:spLocks/>
            </p:cNvSpPr>
            <p:nvPr/>
          </p:nvSpPr>
          <p:spPr bwMode="auto">
            <a:xfrm>
              <a:off x="2940050" y="3881438"/>
              <a:ext cx="1890713" cy="1659661"/>
            </a:xfrm>
            <a:custGeom>
              <a:avLst/>
              <a:gdLst>
                <a:gd name="T0" fmla="*/ 4 w 1205"/>
                <a:gd name="T1" fmla="*/ 324 h 1071"/>
                <a:gd name="T2" fmla="*/ 83 w 1205"/>
                <a:gd name="T3" fmla="*/ 235 h 1071"/>
                <a:gd name="T4" fmla="*/ 164 w 1205"/>
                <a:gd name="T5" fmla="*/ 163 h 1071"/>
                <a:gd name="T6" fmla="*/ 215 w 1205"/>
                <a:gd name="T7" fmla="*/ 125 h 1071"/>
                <a:gd name="T8" fmla="*/ 263 w 1205"/>
                <a:gd name="T9" fmla="*/ 131 h 1071"/>
                <a:gd name="T10" fmla="*/ 412 w 1205"/>
                <a:gd name="T11" fmla="*/ 1 h 1071"/>
                <a:gd name="T12" fmla="*/ 435 w 1205"/>
                <a:gd name="T13" fmla="*/ 43 h 1071"/>
                <a:gd name="T14" fmla="*/ 456 w 1205"/>
                <a:gd name="T15" fmla="*/ 61 h 1071"/>
                <a:gd name="T16" fmla="*/ 491 w 1205"/>
                <a:gd name="T17" fmla="*/ 105 h 1071"/>
                <a:gd name="T18" fmla="*/ 495 w 1205"/>
                <a:gd name="T19" fmla="*/ 123 h 1071"/>
                <a:gd name="T20" fmla="*/ 534 w 1205"/>
                <a:gd name="T21" fmla="*/ 132 h 1071"/>
                <a:gd name="T22" fmla="*/ 499 w 1205"/>
                <a:gd name="T23" fmla="*/ 160 h 1071"/>
                <a:gd name="T24" fmla="*/ 579 w 1205"/>
                <a:gd name="T25" fmla="*/ 176 h 1071"/>
                <a:gd name="T26" fmla="*/ 637 w 1205"/>
                <a:gd name="T27" fmla="*/ 204 h 1071"/>
                <a:gd name="T28" fmla="*/ 666 w 1205"/>
                <a:gd name="T29" fmla="*/ 213 h 1071"/>
                <a:gd name="T30" fmla="*/ 802 w 1205"/>
                <a:gd name="T31" fmla="*/ 276 h 1071"/>
                <a:gd name="T32" fmla="*/ 858 w 1205"/>
                <a:gd name="T33" fmla="*/ 320 h 1071"/>
                <a:gd name="T34" fmla="*/ 886 w 1205"/>
                <a:gd name="T35" fmla="*/ 331 h 1071"/>
                <a:gd name="T36" fmla="*/ 1025 w 1205"/>
                <a:gd name="T37" fmla="*/ 341 h 1071"/>
                <a:gd name="T38" fmla="*/ 1073 w 1205"/>
                <a:gd name="T39" fmla="*/ 344 h 1071"/>
                <a:gd name="T40" fmla="*/ 1080 w 1205"/>
                <a:gd name="T41" fmla="*/ 386 h 1071"/>
                <a:gd name="T42" fmla="*/ 1105 w 1205"/>
                <a:gd name="T43" fmla="*/ 420 h 1071"/>
                <a:gd name="T44" fmla="*/ 1099 w 1205"/>
                <a:gd name="T45" fmla="*/ 441 h 1071"/>
                <a:gd name="T46" fmla="*/ 1092 w 1205"/>
                <a:gd name="T47" fmla="*/ 456 h 1071"/>
                <a:gd name="T48" fmla="*/ 1092 w 1205"/>
                <a:gd name="T49" fmla="*/ 478 h 1071"/>
                <a:gd name="T50" fmla="*/ 1087 w 1205"/>
                <a:gd name="T51" fmla="*/ 512 h 1071"/>
                <a:gd name="T52" fmla="*/ 1106 w 1205"/>
                <a:gd name="T53" fmla="*/ 525 h 1071"/>
                <a:gd name="T54" fmla="*/ 1128 w 1205"/>
                <a:gd name="T55" fmla="*/ 585 h 1071"/>
                <a:gd name="T56" fmla="*/ 1130 w 1205"/>
                <a:gd name="T57" fmla="*/ 620 h 1071"/>
                <a:gd name="T58" fmla="*/ 1123 w 1205"/>
                <a:gd name="T59" fmla="*/ 678 h 1071"/>
                <a:gd name="T60" fmla="*/ 1127 w 1205"/>
                <a:gd name="T61" fmla="*/ 690 h 1071"/>
                <a:gd name="T62" fmla="*/ 1147 w 1205"/>
                <a:gd name="T63" fmla="*/ 696 h 1071"/>
                <a:gd name="T64" fmla="*/ 1161 w 1205"/>
                <a:gd name="T65" fmla="*/ 706 h 1071"/>
                <a:gd name="T66" fmla="*/ 1171 w 1205"/>
                <a:gd name="T67" fmla="*/ 722 h 1071"/>
                <a:gd name="T68" fmla="*/ 1195 w 1205"/>
                <a:gd name="T69" fmla="*/ 740 h 1071"/>
                <a:gd name="T70" fmla="*/ 1196 w 1205"/>
                <a:gd name="T71" fmla="*/ 763 h 1071"/>
                <a:gd name="T72" fmla="*/ 1185 w 1205"/>
                <a:gd name="T73" fmla="*/ 775 h 1071"/>
                <a:gd name="T74" fmla="*/ 1192 w 1205"/>
                <a:gd name="T75" fmla="*/ 783 h 1071"/>
                <a:gd name="T76" fmla="*/ 1191 w 1205"/>
                <a:gd name="T77" fmla="*/ 808 h 1071"/>
                <a:gd name="T78" fmla="*/ 1180 w 1205"/>
                <a:gd name="T79" fmla="*/ 805 h 1071"/>
                <a:gd name="T80" fmla="*/ 1172 w 1205"/>
                <a:gd name="T81" fmla="*/ 805 h 1071"/>
                <a:gd name="T82" fmla="*/ 1172 w 1205"/>
                <a:gd name="T83" fmla="*/ 835 h 1071"/>
                <a:gd name="T84" fmla="*/ 1162 w 1205"/>
                <a:gd name="T85" fmla="*/ 853 h 1071"/>
                <a:gd name="T86" fmla="*/ 1153 w 1205"/>
                <a:gd name="T87" fmla="*/ 871 h 1071"/>
                <a:gd name="T88" fmla="*/ 1157 w 1205"/>
                <a:gd name="T89" fmla="*/ 877 h 1071"/>
                <a:gd name="T90" fmla="*/ 1170 w 1205"/>
                <a:gd name="T91" fmla="*/ 884 h 1071"/>
                <a:gd name="T92" fmla="*/ 1170 w 1205"/>
                <a:gd name="T93" fmla="*/ 897 h 1071"/>
                <a:gd name="T94" fmla="*/ 943 w 1205"/>
                <a:gd name="T95" fmla="*/ 1071 h 1071"/>
                <a:gd name="T96" fmla="*/ 935 w 1205"/>
                <a:gd name="T97" fmla="*/ 964 h 1071"/>
                <a:gd name="T98" fmla="*/ 898 w 1205"/>
                <a:gd name="T99" fmla="*/ 971 h 1071"/>
                <a:gd name="T100" fmla="*/ 786 w 1205"/>
                <a:gd name="T101" fmla="*/ 811 h 1071"/>
                <a:gd name="T102" fmla="*/ 720 w 1205"/>
                <a:gd name="T103" fmla="*/ 831 h 1071"/>
                <a:gd name="T104" fmla="*/ 562 w 1205"/>
                <a:gd name="T105" fmla="*/ 809 h 1071"/>
                <a:gd name="T106" fmla="*/ 447 w 1205"/>
                <a:gd name="T107" fmla="*/ 824 h 1071"/>
                <a:gd name="T108" fmla="*/ 256 w 1205"/>
                <a:gd name="T109" fmla="*/ 656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05" h="1071">
                  <a:moveTo>
                    <a:pt x="0" y="446"/>
                  </a:moveTo>
                  <a:lnTo>
                    <a:pt x="0" y="446"/>
                  </a:lnTo>
                  <a:lnTo>
                    <a:pt x="4" y="331"/>
                  </a:lnTo>
                  <a:lnTo>
                    <a:pt x="4" y="331"/>
                  </a:lnTo>
                  <a:lnTo>
                    <a:pt x="4" y="324"/>
                  </a:lnTo>
                  <a:lnTo>
                    <a:pt x="5" y="320"/>
                  </a:lnTo>
                  <a:lnTo>
                    <a:pt x="8" y="318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83" y="235"/>
                  </a:lnTo>
                  <a:lnTo>
                    <a:pt x="83" y="235"/>
                  </a:lnTo>
                  <a:lnTo>
                    <a:pt x="88" y="228"/>
                  </a:lnTo>
                  <a:lnTo>
                    <a:pt x="105" y="213"/>
                  </a:lnTo>
                  <a:lnTo>
                    <a:pt x="131" y="191"/>
                  </a:lnTo>
                  <a:lnTo>
                    <a:pt x="164" y="163"/>
                  </a:lnTo>
                  <a:lnTo>
                    <a:pt x="164" y="163"/>
                  </a:lnTo>
                  <a:lnTo>
                    <a:pt x="188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5" y="125"/>
                  </a:lnTo>
                  <a:lnTo>
                    <a:pt x="215" y="125"/>
                  </a:lnTo>
                  <a:lnTo>
                    <a:pt x="221" y="126"/>
                  </a:lnTo>
                  <a:lnTo>
                    <a:pt x="236" y="128"/>
                  </a:lnTo>
                  <a:lnTo>
                    <a:pt x="254" y="131"/>
                  </a:lnTo>
                  <a:lnTo>
                    <a:pt x="263" y="131"/>
                  </a:lnTo>
                  <a:lnTo>
                    <a:pt x="271" y="131"/>
                  </a:lnTo>
                  <a:lnTo>
                    <a:pt x="334" y="0"/>
                  </a:lnTo>
                  <a:lnTo>
                    <a:pt x="334" y="0"/>
                  </a:lnTo>
                  <a:lnTo>
                    <a:pt x="412" y="1"/>
                  </a:lnTo>
                  <a:lnTo>
                    <a:pt x="412" y="1"/>
                  </a:lnTo>
                  <a:lnTo>
                    <a:pt x="417" y="12"/>
                  </a:lnTo>
                  <a:lnTo>
                    <a:pt x="423" y="21"/>
                  </a:lnTo>
                  <a:lnTo>
                    <a:pt x="430" y="31"/>
                  </a:lnTo>
                  <a:lnTo>
                    <a:pt x="435" y="43"/>
                  </a:lnTo>
                  <a:lnTo>
                    <a:pt x="435" y="43"/>
                  </a:lnTo>
                  <a:lnTo>
                    <a:pt x="439" y="52"/>
                  </a:lnTo>
                  <a:lnTo>
                    <a:pt x="442" y="57"/>
                  </a:lnTo>
                  <a:lnTo>
                    <a:pt x="443" y="60"/>
                  </a:lnTo>
                  <a:lnTo>
                    <a:pt x="44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82" y="93"/>
                  </a:lnTo>
                  <a:lnTo>
                    <a:pt x="482" y="93"/>
                  </a:lnTo>
                  <a:lnTo>
                    <a:pt x="487" y="100"/>
                  </a:lnTo>
                  <a:lnTo>
                    <a:pt x="491" y="105"/>
                  </a:lnTo>
                  <a:lnTo>
                    <a:pt x="491" y="110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91" y="122"/>
                  </a:lnTo>
                  <a:lnTo>
                    <a:pt x="495" y="123"/>
                  </a:lnTo>
                  <a:lnTo>
                    <a:pt x="506" y="125"/>
                  </a:lnTo>
                  <a:lnTo>
                    <a:pt x="521" y="127"/>
                  </a:lnTo>
                  <a:lnTo>
                    <a:pt x="527" y="130"/>
                  </a:lnTo>
                  <a:lnTo>
                    <a:pt x="534" y="132"/>
                  </a:lnTo>
                  <a:lnTo>
                    <a:pt x="534" y="132"/>
                  </a:lnTo>
                  <a:lnTo>
                    <a:pt x="528" y="138"/>
                  </a:lnTo>
                  <a:lnTo>
                    <a:pt x="528" y="138"/>
                  </a:lnTo>
                  <a:lnTo>
                    <a:pt x="510" y="149"/>
                  </a:lnTo>
                  <a:lnTo>
                    <a:pt x="503" y="156"/>
                  </a:lnTo>
                  <a:lnTo>
                    <a:pt x="499" y="160"/>
                  </a:lnTo>
                  <a:lnTo>
                    <a:pt x="499" y="160"/>
                  </a:lnTo>
                  <a:lnTo>
                    <a:pt x="525" y="156"/>
                  </a:lnTo>
                  <a:lnTo>
                    <a:pt x="550" y="150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604" y="185"/>
                  </a:lnTo>
                  <a:lnTo>
                    <a:pt x="620" y="195"/>
                  </a:lnTo>
                  <a:lnTo>
                    <a:pt x="636" y="204"/>
                  </a:lnTo>
                  <a:lnTo>
                    <a:pt x="636" y="204"/>
                  </a:lnTo>
                  <a:lnTo>
                    <a:pt x="637" y="204"/>
                  </a:lnTo>
                  <a:lnTo>
                    <a:pt x="639" y="202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53" y="206"/>
                  </a:lnTo>
                  <a:lnTo>
                    <a:pt x="666" y="213"/>
                  </a:lnTo>
                  <a:lnTo>
                    <a:pt x="693" y="224"/>
                  </a:lnTo>
                  <a:lnTo>
                    <a:pt x="725" y="236"/>
                  </a:lnTo>
                  <a:lnTo>
                    <a:pt x="788" y="272"/>
                  </a:lnTo>
                  <a:lnTo>
                    <a:pt x="788" y="272"/>
                  </a:lnTo>
                  <a:lnTo>
                    <a:pt x="802" y="276"/>
                  </a:lnTo>
                  <a:lnTo>
                    <a:pt x="816" y="280"/>
                  </a:lnTo>
                  <a:lnTo>
                    <a:pt x="816" y="280"/>
                  </a:lnTo>
                  <a:lnTo>
                    <a:pt x="833" y="300"/>
                  </a:lnTo>
                  <a:lnTo>
                    <a:pt x="847" y="312"/>
                  </a:lnTo>
                  <a:lnTo>
                    <a:pt x="858" y="320"/>
                  </a:lnTo>
                  <a:lnTo>
                    <a:pt x="869" y="327"/>
                  </a:lnTo>
                  <a:lnTo>
                    <a:pt x="869" y="327"/>
                  </a:lnTo>
                  <a:lnTo>
                    <a:pt x="872" y="331"/>
                  </a:lnTo>
                  <a:lnTo>
                    <a:pt x="872" y="331"/>
                  </a:lnTo>
                  <a:lnTo>
                    <a:pt x="886" y="331"/>
                  </a:lnTo>
                  <a:lnTo>
                    <a:pt x="899" y="333"/>
                  </a:lnTo>
                  <a:lnTo>
                    <a:pt x="913" y="337"/>
                  </a:lnTo>
                  <a:lnTo>
                    <a:pt x="1012" y="342"/>
                  </a:lnTo>
                  <a:lnTo>
                    <a:pt x="1012" y="342"/>
                  </a:lnTo>
                  <a:lnTo>
                    <a:pt x="1025" y="341"/>
                  </a:lnTo>
                  <a:lnTo>
                    <a:pt x="1036" y="340"/>
                  </a:lnTo>
                  <a:lnTo>
                    <a:pt x="1056" y="341"/>
                  </a:lnTo>
                  <a:lnTo>
                    <a:pt x="1069" y="342"/>
                  </a:lnTo>
                  <a:lnTo>
                    <a:pt x="1073" y="344"/>
                  </a:lnTo>
                  <a:lnTo>
                    <a:pt x="1073" y="344"/>
                  </a:lnTo>
                  <a:lnTo>
                    <a:pt x="1077" y="350"/>
                  </a:lnTo>
                  <a:lnTo>
                    <a:pt x="1078" y="357"/>
                  </a:lnTo>
                  <a:lnTo>
                    <a:pt x="1080" y="371"/>
                  </a:lnTo>
                  <a:lnTo>
                    <a:pt x="1080" y="382"/>
                  </a:lnTo>
                  <a:lnTo>
                    <a:pt x="1080" y="386"/>
                  </a:lnTo>
                  <a:lnTo>
                    <a:pt x="1093" y="403"/>
                  </a:lnTo>
                  <a:lnTo>
                    <a:pt x="1099" y="402"/>
                  </a:lnTo>
                  <a:lnTo>
                    <a:pt x="1099" y="402"/>
                  </a:lnTo>
                  <a:lnTo>
                    <a:pt x="1105" y="420"/>
                  </a:lnTo>
                  <a:lnTo>
                    <a:pt x="1105" y="420"/>
                  </a:lnTo>
                  <a:lnTo>
                    <a:pt x="1101" y="428"/>
                  </a:lnTo>
                  <a:lnTo>
                    <a:pt x="1099" y="433"/>
                  </a:lnTo>
                  <a:lnTo>
                    <a:pt x="1097" y="438"/>
                  </a:lnTo>
                  <a:lnTo>
                    <a:pt x="1097" y="438"/>
                  </a:lnTo>
                  <a:lnTo>
                    <a:pt x="1099" y="441"/>
                  </a:lnTo>
                  <a:lnTo>
                    <a:pt x="1097" y="445"/>
                  </a:lnTo>
                  <a:lnTo>
                    <a:pt x="1097" y="449"/>
                  </a:lnTo>
                  <a:lnTo>
                    <a:pt x="1097" y="449"/>
                  </a:lnTo>
                  <a:lnTo>
                    <a:pt x="1093" y="451"/>
                  </a:lnTo>
                  <a:lnTo>
                    <a:pt x="1092" y="456"/>
                  </a:lnTo>
                  <a:lnTo>
                    <a:pt x="1092" y="460"/>
                  </a:lnTo>
                  <a:lnTo>
                    <a:pt x="1092" y="465"/>
                  </a:lnTo>
                  <a:lnTo>
                    <a:pt x="1092" y="465"/>
                  </a:lnTo>
                  <a:lnTo>
                    <a:pt x="1093" y="472"/>
                  </a:lnTo>
                  <a:lnTo>
                    <a:pt x="1092" y="478"/>
                  </a:lnTo>
                  <a:lnTo>
                    <a:pt x="1092" y="487"/>
                  </a:lnTo>
                  <a:lnTo>
                    <a:pt x="1083" y="496"/>
                  </a:lnTo>
                  <a:lnTo>
                    <a:pt x="1083" y="508"/>
                  </a:lnTo>
                  <a:lnTo>
                    <a:pt x="1083" y="508"/>
                  </a:lnTo>
                  <a:lnTo>
                    <a:pt x="1087" y="512"/>
                  </a:lnTo>
                  <a:lnTo>
                    <a:pt x="1090" y="515"/>
                  </a:lnTo>
                  <a:lnTo>
                    <a:pt x="1093" y="515"/>
                  </a:lnTo>
                  <a:lnTo>
                    <a:pt x="1093" y="515"/>
                  </a:lnTo>
                  <a:lnTo>
                    <a:pt x="1100" y="520"/>
                  </a:lnTo>
                  <a:lnTo>
                    <a:pt x="1106" y="525"/>
                  </a:lnTo>
                  <a:lnTo>
                    <a:pt x="1115" y="530"/>
                  </a:lnTo>
                  <a:lnTo>
                    <a:pt x="1121" y="533"/>
                  </a:lnTo>
                  <a:lnTo>
                    <a:pt x="1127" y="534"/>
                  </a:lnTo>
                  <a:lnTo>
                    <a:pt x="1127" y="534"/>
                  </a:lnTo>
                  <a:lnTo>
                    <a:pt x="1128" y="585"/>
                  </a:lnTo>
                  <a:lnTo>
                    <a:pt x="1128" y="585"/>
                  </a:lnTo>
                  <a:lnTo>
                    <a:pt x="1128" y="591"/>
                  </a:lnTo>
                  <a:lnTo>
                    <a:pt x="1130" y="600"/>
                  </a:lnTo>
                  <a:lnTo>
                    <a:pt x="1130" y="620"/>
                  </a:lnTo>
                  <a:lnTo>
                    <a:pt x="1130" y="620"/>
                  </a:lnTo>
                  <a:lnTo>
                    <a:pt x="1130" y="631"/>
                  </a:lnTo>
                  <a:lnTo>
                    <a:pt x="1130" y="648"/>
                  </a:lnTo>
                  <a:lnTo>
                    <a:pt x="1127" y="670"/>
                  </a:lnTo>
                  <a:lnTo>
                    <a:pt x="1127" y="670"/>
                  </a:lnTo>
                  <a:lnTo>
                    <a:pt x="1123" y="678"/>
                  </a:lnTo>
                  <a:lnTo>
                    <a:pt x="1122" y="682"/>
                  </a:lnTo>
                  <a:lnTo>
                    <a:pt x="1122" y="684"/>
                  </a:lnTo>
                  <a:lnTo>
                    <a:pt x="1125" y="687"/>
                  </a:lnTo>
                  <a:lnTo>
                    <a:pt x="1127" y="690"/>
                  </a:lnTo>
                  <a:lnTo>
                    <a:pt x="1127" y="690"/>
                  </a:lnTo>
                  <a:lnTo>
                    <a:pt x="1130" y="692"/>
                  </a:lnTo>
                  <a:lnTo>
                    <a:pt x="1132" y="695"/>
                  </a:lnTo>
                  <a:lnTo>
                    <a:pt x="1137" y="696"/>
                  </a:lnTo>
                  <a:lnTo>
                    <a:pt x="1143" y="696"/>
                  </a:lnTo>
                  <a:lnTo>
                    <a:pt x="1147" y="696"/>
                  </a:lnTo>
                  <a:lnTo>
                    <a:pt x="1147" y="696"/>
                  </a:lnTo>
                  <a:lnTo>
                    <a:pt x="1154" y="699"/>
                  </a:lnTo>
                  <a:lnTo>
                    <a:pt x="1158" y="701"/>
                  </a:lnTo>
                  <a:lnTo>
                    <a:pt x="1160" y="704"/>
                  </a:lnTo>
                  <a:lnTo>
                    <a:pt x="1161" y="706"/>
                  </a:lnTo>
                  <a:lnTo>
                    <a:pt x="1162" y="710"/>
                  </a:lnTo>
                  <a:lnTo>
                    <a:pt x="1163" y="713"/>
                  </a:lnTo>
                  <a:lnTo>
                    <a:pt x="1167" y="716"/>
                  </a:lnTo>
                  <a:lnTo>
                    <a:pt x="1167" y="716"/>
                  </a:lnTo>
                  <a:lnTo>
                    <a:pt x="1171" y="722"/>
                  </a:lnTo>
                  <a:lnTo>
                    <a:pt x="1178" y="728"/>
                  </a:lnTo>
                  <a:lnTo>
                    <a:pt x="1178" y="728"/>
                  </a:lnTo>
                  <a:lnTo>
                    <a:pt x="1183" y="734"/>
                  </a:lnTo>
                  <a:lnTo>
                    <a:pt x="1188" y="736"/>
                  </a:lnTo>
                  <a:lnTo>
                    <a:pt x="1195" y="740"/>
                  </a:lnTo>
                  <a:lnTo>
                    <a:pt x="1205" y="747"/>
                  </a:lnTo>
                  <a:lnTo>
                    <a:pt x="1205" y="747"/>
                  </a:lnTo>
                  <a:lnTo>
                    <a:pt x="1204" y="753"/>
                  </a:lnTo>
                  <a:lnTo>
                    <a:pt x="1200" y="758"/>
                  </a:lnTo>
                  <a:lnTo>
                    <a:pt x="1196" y="763"/>
                  </a:lnTo>
                  <a:lnTo>
                    <a:pt x="1191" y="766"/>
                  </a:lnTo>
                  <a:lnTo>
                    <a:pt x="1191" y="766"/>
                  </a:lnTo>
                  <a:lnTo>
                    <a:pt x="1189" y="769"/>
                  </a:lnTo>
                  <a:lnTo>
                    <a:pt x="1185" y="774"/>
                  </a:lnTo>
                  <a:lnTo>
                    <a:pt x="1185" y="775"/>
                  </a:lnTo>
                  <a:lnTo>
                    <a:pt x="1185" y="776"/>
                  </a:lnTo>
                  <a:lnTo>
                    <a:pt x="1187" y="778"/>
                  </a:lnTo>
                  <a:lnTo>
                    <a:pt x="1191" y="778"/>
                  </a:lnTo>
                  <a:lnTo>
                    <a:pt x="1191" y="778"/>
                  </a:lnTo>
                  <a:lnTo>
                    <a:pt x="1192" y="783"/>
                  </a:lnTo>
                  <a:lnTo>
                    <a:pt x="1193" y="787"/>
                  </a:lnTo>
                  <a:lnTo>
                    <a:pt x="1193" y="793"/>
                  </a:lnTo>
                  <a:lnTo>
                    <a:pt x="1192" y="804"/>
                  </a:lnTo>
                  <a:lnTo>
                    <a:pt x="1192" y="804"/>
                  </a:lnTo>
                  <a:lnTo>
                    <a:pt x="1191" y="808"/>
                  </a:lnTo>
                  <a:lnTo>
                    <a:pt x="1188" y="809"/>
                  </a:lnTo>
                  <a:lnTo>
                    <a:pt x="1187" y="810"/>
                  </a:lnTo>
                  <a:lnTo>
                    <a:pt x="1185" y="809"/>
                  </a:lnTo>
                  <a:lnTo>
                    <a:pt x="1182" y="808"/>
                  </a:lnTo>
                  <a:lnTo>
                    <a:pt x="1180" y="805"/>
                  </a:lnTo>
                  <a:lnTo>
                    <a:pt x="1180" y="805"/>
                  </a:lnTo>
                  <a:lnTo>
                    <a:pt x="1178" y="804"/>
                  </a:lnTo>
                  <a:lnTo>
                    <a:pt x="1174" y="802"/>
                  </a:lnTo>
                  <a:lnTo>
                    <a:pt x="1172" y="804"/>
                  </a:lnTo>
                  <a:lnTo>
                    <a:pt x="1172" y="805"/>
                  </a:lnTo>
                  <a:lnTo>
                    <a:pt x="1174" y="813"/>
                  </a:lnTo>
                  <a:lnTo>
                    <a:pt x="1174" y="813"/>
                  </a:lnTo>
                  <a:lnTo>
                    <a:pt x="1174" y="818"/>
                  </a:lnTo>
                  <a:lnTo>
                    <a:pt x="1174" y="826"/>
                  </a:lnTo>
                  <a:lnTo>
                    <a:pt x="1172" y="835"/>
                  </a:lnTo>
                  <a:lnTo>
                    <a:pt x="1172" y="835"/>
                  </a:lnTo>
                  <a:lnTo>
                    <a:pt x="1169" y="840"/>
                  </a:lnTo>
                  <a:lnTo>
                    <a:pt x="1165" y="845"/>
                  </a:lnTo>
                  <a:lnTo>
                    <a:pt x="1162" y="853"/>
                  </a:lnTo>
                  <a:lnTo>
                    <a:pt x="1162" y="853"/>
                  </a:lnTo>
                  <a:lnTo>
                    <a:pt x="1162" y="854"/>
                  </a:lnTo>
                  <a:lnTo>
                    <a:pt x="1163" y="857"/>
                  </a:lnTo>
                  <a:lnTo>
                    <a:pt x="1161" y="862"/>
                  </a:lnTo>
                  <a:lnTo>
                    <a:pt x="1157" y="868"/>
                  </a:lnTo>
                  <a:lnTo>
                    <a:pt x="1153" y="871"/>
                  </a:lnTo>
                  <a:lnTo>
                    <a:pt x="1149" y="872"/>
                  </a:lnTo>
                  <a:lnTo>
                    <a:pt x="1149" y="872"/>
                  </a:lnTo>
                  <a:lnTo>
                    <a:pt x="1152" y="875"/>
                  </a:lnTo>
                  <a:lnTo>
                    <a:pt x="1153" y="876"/>
                  </a:lnTo>
                  <a:lnTo>
                    <a:pt x="1157" y="877"/>
                  </a:lnTo>
                  <a:lnTo>
                    <a:pt x="1161" y="876"/>
                  </a:lnTo>
                  <a:lnTo>
                    <a:pt x="1161" y="876"/>
                  </a:lnTo>
                  <a:lnTo>
                    <a:pt x="1165" y="879"/>
                  </a:lnTo>
                  <a:lnTo>
                    <a:pt x="1169" y="881"/>
                  </a:lnTo>
                  <a:lnTo>
                    <a:pt x="1170" y="884"/>
                  </a:lnTo>
                  <a:lnTo>
                    <a:pt x="1170" y="887"/>
                  </a:lnTo>
                  <a:lnTo>
                    <a:pt x="1170" y="889"/>
                  </a:lnTo>
                  <a:lnTo>
                    <a:pt x="1169" y="893"/>
                  </a:lnTo>
                  <a:lnTo>
                    <a:pt x="1169" y="893"/>
                  </a:lnTo>
                  <a:lnTo>
                    <a:pt x="1170" y="897"/>
                  </a:lnTo>
                  <a:lnTo>
                    <a:pt x="1171" y="900"/>
                  </a:lnTo>
                  <a:lnTo>
                    <a:pt x="1174" y="902"/>
                  </a:lnTo>
                  <a:lnTo>
                    <a:pt x="1175" y="909"/>
                  </a:lnTo>
                  <a:lnTo>
                    <a:pt x="1090" y="955"/>
                  </a:lnTo>
                  <a:lnTo>
                    <a:pt x="943" y="1071"/>
                  </a:lnTo>
                  <a:lnTo>
                    <a:pt x="930" y="1071"/>
                  </a:lnTo>
                  <a:lnTo>
                    <a:pt x="931" y="970"/>
                  </a:lnTo>
                  <a:lnTo>
                    <a:pt x="931" y="970"/>
                  </a:lnTo>
                  <a:lnTo>
                    <a:pt x="934" y="967"/>
                  </a:lnTo>
                  <a:lnTo>
                    <a:pt x="935" y="964"/>
                  </a:lnTo>
                  <a:lnTo>
                    <a:pt x="935" y="962"/>
                  </a:lnTo>
                  <a:lnTo>
                    <a:pt x="934" y="959"/>
                  </a:lnTo>
                  <a:lnTo>
                    <a:pt x="931" y="957"/>
                  </a:lnTo>
                  <a:lnTo>
                    <a:pt x="929" y="955"/>
                  </a:lnTo>
                  <a:lnTo>
                    <a:pt x="898" y="971"/>
                  </a:lnTo>
                  <a:lnTo>
                    <a:pt x="856" y="887"/>
                  </a:lnTo>
                  <a:lnTo>
                    <a:pt x="807" y="849"/>
                  </a:lnTo>
                  <a:lnTo>
                    <a:pt x="786" y="814"/>
                  </a:lnTo>
                  <a:lnTo>
                    <a:pt x="786" y="814"/>
                  </a:lnTo>
                  <a:lnTo>
                    <a:pt x="786" y="811"/>
                  </a:lnTo>
                  <a:lnTo>
                    <a:pt x="785" y="809"/>
                  </a:lnTo>
                  <a:lnTo>
                    <a:pt x="779" y="806"/>
                  </a:lnTo>
                  <a:lnTo>
                    <a:pt x="769" y="804"/>
                  </a:lnTo>
                  <a:lnTo>
                    <a:pt x="720" y="831"/>
                  </a:lnTo>
                  <a:lnTo>
                    <a:pt x="720" y="831"/>
                  </a:lnTo>
                  <a:lnTo>
                    <a:pt x="679" y="828"/>
                  </a:lnTo>
                  <a:lnTo>
                    <a:pt x="644" y="824"/>
                  </a:lnTo>
                  <a:lnTo>
                    <a:pt x="615" y="820"/>
                  </a:lnTo>
                  <a:lnTo>
                    <a:pt x="592" y="817"/>
                  </a:lnTo>
                  <a:lnTo>
                    <a:pt x="562" y="809"/>
                  </a:lnTo>
                  <a:lnTo>
                    <a:pt x="553" y="806"/>
                  </a:lnTo>
                  <a:lnTo>
                    <a:pt x="553" y="806"/>
                  </a:lnTo>
                  <a:lnTo>
                    <a:pt x="518" y="814"/>
                  </a:lnTo>
                  <a:lnTo>
                    <a:pt x="473" y="822"/>
                  </a:lnTo>
                  <a:lnTo>
                    <a:pt x="447" y="824"/>
                  </a:lnTo>
                  <a:lnTo>
                    <a:pt x="421" y="827"/>
                  </a:lnTo>
                  <a:lnTo>
                    <a:pt x="395" y="828"/>
                  </a:lnTo>
                  <a:lnTo>
                    <a:pt x="368" y="827"/>
                  </a:lnTo>
                  <a:lnTo>
                    <a:pt x="258" y="682"/>
                  </a:lnTo>
                  <a:lnTo>
                    <a:pt x="256" y="656"/>
                  </a:lnTo>
                  <a:lnTo>
                    <a:pt x="135" y="556"/>
                  </a:lnTo>
                  <a:lnTo>
                    <a:pt x="0" y="44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3" name="Freeform 191"/>
            <p:cNvSpPr>
              <a:spLocks/>
            </p:cNvSpPr>
            <p:nvPr/>
          </p:nvSpPr>
          <p:spPr bwMode="auto">
            <a:xfrm>
              <a:off x="4429125" y="1612899"/>
              <a:ext cx="1479550" cy="981075"/>
            </a:xfrm>
            <a:custGeom>
              <a:avLst/>
              <a:gdLst>
                <a:gd name="T0" fmla="*/ 66 w 932"/>
                <a:gd name="T1" fmla="*/ 604 h 618"/>
                <a:gd name="T2" fmla="*/ 183 w 932"/>
                <a:gd name="T3" fmla="*/ 575 h 618"/>
                <a:gd name="T4" fmla="*/ 225 w 932"/>
                <a:gd name="T5" fmla="*/ 588 h 618"/>
                <a:gd name="T6" fmla="*/ 237 w 932"/>
                <a:gd name="T7" fmla="*/ 565 h 618"/>
                <a:gd name="T8" fmla="*/ 312 w 932"/>
                <a:gd name="T9" fmla="*/ 473 h 618"/>
                <a:gd name="T10" fmla="*/ 302 w 932"/>
                <a:gd name="T11" fmla="*/ 407 h 618"/>
                <a:gd name="T12" fmla="*/ 317 w 932"/>
                <a:gd name="T13" fmla="*/ 356 h 618"/>
                <a:gd name="T14" fmla="*/ 395 w 932"/>
                <a:gd name="T15" fmla="*/ 372 h 618"/>
                <a:gd name="T16" fmla="*/ 460 w 932"/>
                <a:gd name="T17" fmla="*/ 369 h 618"/>
                <a:gd name="T18" fmla="*/ 478 w 932"/>
                <a:gd name="T19" fmla="*/ 394 h 618"/>
                <a:gd name="T20" fmla="*/ 522 w 932"/>
                <a:gd name="T21" fmla="*/ 382 h 618"/>
                <a:gd name="T22" fmla="*/ 596 w 932"/>
                <a:gd name="T23" fmla="*/ 395 h 618"/>
                <a:gd name="T24" fmla="*/ 634 w 932"/>
                <a:gd name="T25" fmla="*/ 389 h 618"/>
                <a:gd name="T26" fmla="*/ 654 w 932"/>
                <a:gd name="T27" fmla="*/ 457 h 618"/>
                <a:gd name="T28" fmla="*/ 781 w 932"/>
                <a:gd name="T29" fmla="*/ 440 h 618"/>
                <a:gd name="T30" fmla="*/ 807 w 932"/>
                <a:gd name="T31" fmla="*/ 491 h 618"/>
                <a:gd name="T32" fmla="*/ 921 w 932"/>
                <a:gd name="T33" fmla="*/ 508 h 618"/>
                <a:gd name="T34" fmla="*/ 924 w 932"/>
                <a:gd name="T35" fmla="*/ 443 h 618"/>
                <a:gd name="T36" fmla="*/ 888 w 932"/>
                <a:gd name="T37" fmla="*/ 469 h 618"/>
                <a:gd name="T38" fmla="*/ 868 w 932"/>
                <a:gd name="T39" fmla="*/ 446 h 618"/>
                <a:gd name="T40" fmla="*/ 894 w 932"/>
                <a:gd name="T41" fmla="*/ 398 h 618"/>
                <a:gd name="T42" fmla="*/ 850 w 932"/>
                <a:gd name="T43" fmla="*/ 391 h 618"/>
                <a:gd name="T44" fmla="*/ 853 w 932"/>
                <a:gd name="T45" fmla="*/ 352 h 618"/>
                <a:gd name="T46" fmla="*/ 832 w 932"/>
                <a:gd name="T47" fmla="*/ 332 h 618"/>
                <a:gd name="T48" fmla="*/ 844 w 932"/>
                <a:gd name="T49" fmla="*/ 276 h 618"/>
                <a:gd name="T50" fmla="*/ 876 w 932"/>
                <a:gd name="T51" fmla="*/ 256 h 618"/>
                <a:gd name="T52" fmla="*/ 862 w 932"/>
                <a:gd name="T53" fmla="*/ 238 h 618"/>
                <a:gd name="T54" fmla="*/ 855 w 932"/>
                <a:gd name="T55" fmla="*/ 252 h 618"/>
                <a:gd name="T56" fmla="*/ 818 w 932"/>
                <a:gd name="T57" fmla="*/ 254 h 618"/>
                <a:gd name="T58" fmla="*/ 767 w 932"/>
                <a:gd name="T59" fmla="*/ 229 h 618"/>
                <a:gd name="T60" fmla="*/ 752 w 932"/>
                <a:gd name="T61" fmla="*/ 243 h 618"/>
                <a:gd name="T62" fmla="*/ 748 w 932"/>
                <a:gd name="T63" fmla="*/ 256 h 618"/>
                <a:gd name="T64" fmla="*/ 733 w 932"/>
                <a:gd name="T65" fmla="*/ 232 h 618"/>
                <a:gd name="T66" fmla="*/ 717 w 932"/>
                <a:gd name="T67" fmla="*/ 206 h 618"/>
                <a:gd name="T68" fmla="*/ 679 w 932"/>
                <a:gd name="T69" fmla="*/ 194 h 618"/>
                <a:gd name="T70" fmla="*/ 671 w 932"/>
                <a:gd name="T71" fmla="*/ 217 h 618"/>
                <a:gd name="T72" fmla="*/ 647 w 932"/>
                <a:gd name="T73" fmla="*/ 238 h 618"/>
                <a:gd name="T74" fmla="*/ 596 w 932"/>
                <a:gd name="T75" fmla="*/ 236 h 618"/>
                <a:gd name="T76" fmla="*/ 565 w 932"/>
                <a:gd name="T77" fmla="*/ 205 h 618"/>
                <a:gd name="T78" fmla="*/ 583 w 932"/>
                <a:gd name="T79" fmla="*/ 160 h 618"/>
                <a:gd name="T80" fmla="*/ 593 w 932"/>
                <a:gd name="T81" fmla="*/ 136 h 618"/>
                <a:gd name="T82" fmla="*/ 556 w 932"/>
                <a:gd name="T83" fmla="*/ 59 h 618"/>
                <a:gd name="T84" fmla="*/ 529 w 932"/>
                <a:gd name="T85" fmla="*/ 19 h 618"/>
                <a:gd name="T86" fmla="*/ 492 w 932"/>
                <a:gd name="T87" fmla="*/ 24 h 618"/>
                <a:gd name="T88" fmla="*/ 461 w 932"/>
                <a:gd name="T89" fmla="*/ 46 h 618"/>
                <a:gd name="T90" fmla="*/ 408 w 932"/>
                <a:gd name="T91" fmla="*/ 13 h 618"/>
                <a:gd name="T92" fmla="*/ 376 w 932"/>
                <a:gd name="T93" fmla="*/ 6 h 618"/>
                <a:gd name="T94" fmla="*/ 330 w 932"/>
                <a:gd name="T95" fmla="*/ 0 h 618"/>
                <a:gd name="T96" fmla="*/ 333 w 932"/>
                <a:gd name="T97" fmla="*/ 30 h 618"/>
                <a:gd name="T98" fmla="*/ 298 w 932"/>
                <a:gd name="T99" fmla="*/ 33 h 618"/>
                <a:gd name="T100" fmla="*/ 255 w 932"/>
                <a:gd name="T101" fmla="*/ 46 h 618"/>
                <a:gd name="T102" fmla="*/ 255 w 932"/>
                <a:gd name="T103" fmla="*/ 75 h 618"/>
                <a:gd name="T104" fmla="*/ 212 w 932"/>
                <a:gd name="T105" fmla="*/ 89 h 618"/>
                <a:gd name="T106" fmla="*/ 174 w 932"/>
                <a:gd name="T107" fmla="*/ 114 h 618"/>
                <a:gd name="T108" fmla="*/ 122 w 932"/>
                <a:gd name="T109" fmla="*/ 125 h 618"/>
                <a:gd name="T110" fmla="*/ 27 w 932"/>
                <a:gd name="T111" fmla="*/ 215 h 618"/>
                <a:gd name="T112" fmla="*/ 23 w 932"/>
                <a:gd name="T113" fmla="*/ 262 h 618"/>
                <a:gd name="T114" fmla="*/ 34 w 932"/>
                <a:gd name="T115" fmla="*/ 429 h 618"/>
                <a:gd name="T116" fmla="*/ 18 w 932"/>
                <a:gd name="T117" fmla="*/ 512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32" h="618">
                  <a:moveTo>
                    <a:pt x="12" y="571"/>
                  </a:moveTo>
                  <a:lnTo>
                    <a:pt x="30" y="595"/>
                  </a:lnTo>
                  <a:lnTo>
                    <a:pt x="30" y="595"/>
                  </a:lnTo>
                  <a:lnTo>
                    <a:pt x="45" y="589"/>
                  </a:lnTo>
                  <a:lnTo>
                    <a:pt x="56" y="587"/>
                  </a:lnTo>
                  <a:lnTo>
                    <a:pt x="62" y="586"/>
                  </a:lnTo>
                  <a:lnTo>
                    <a:pt x="62" y="586"/>
                  </a:lnTo>
                  <a:lnTo>
                    <a:pt x="63" y="587"/>
                  </a:lnTo>
                  <a:lnTo>
                    <a:pt x="65" y="589"/>
                  </a:lnTo>
                  <a:lnTo>
                    <a:pt x="66" y="595"/>
                  </a:lnTo>
                  <a:lnTo>
                    <a:pt x="66" y="604"/>
                  </a:lnTo>
                  <a:lnTo>
                    <a:pt x="66" y="604"/>
                  </a:lnTo>
                  <a:lnTo>
                    <a:pt x="84" y="605"/>
                  </a:lnTo>
                  <a:lnTo>
                    <a:pt x="97" y="608"/>
                  </a:lnTo>
                  <a:lnTo>
                    <a:pt x="102" y="609"/>
                  </a:lnTo>
                  <a:lnTo>
                    <a:pt x="106" y="611"/>
                  </a:lnTo>
                  <a:lnTo>
                    <a:pt x="106" y="611"/>
                  </a:lnTo>
                  <a:lnTo>
                    <a:pt x="111" y="610"/>
                  </a:lnTo>
                  <a:lnTo>
                    <a:pt x="118" y="611"/>
                  </a:lnTo>
                  <a:lnTo>
                    <a:pt x="126" y="613"/>
                  </a:lnTo>
                  <a:lnTo>
                    <a:pt x="140" y="613"/>
                  </a:lnTo>
                  <a:lnTo>
                    <a:pt x="154" y="618"/>
                  </a:lnTo>
                  <a:lnTo>
                    <a:pt x="154" y="576"/>
                  </a:lnTo>
                  <a:lnTo>
                    <a:pt x="183" y="575"/>
                  </a:lnTo>
                  <a:lnTo>
                    <a:pt x="190" y="587"/>
                  </a:lnTo>
                  <a:lnTo>
                    <a:pt x="203" y="589"/>
                  </a:lnTo>
                  <a:lnTo>
                    <a:pt x="203" y="589"/>
                  </a:lnTo>
                  <a:lnTo>
                    <a:pt x="210" y="596"/>
                  </a:lnTo>
                  <a:lnTo>
                    <a:pt x="215" y="601"/>
                  </a:lnTo>
                  <a:lnTo>
                    <a:pt x="219" y="604"/>
                  </a:lnTo>
                  <a:lnTo>
                    <a:pt x="219" y="604"/>
                  </a:lnTo>
                  <a:lnTo>
                    <a:pt x="220" y="601"/>
                  </a:lnTo>
                  <a:lnTo>
                    <a:pt x="222" y="596"/>
                  </a:lnTo>
                  <a:lnTo>
                    <a:pt x="223" y="592"/>
                  </a:lnTo>
                  <a:lnTo>
                    <a:pt x="225" y="588"/>
                  </a:lnTo>
                  <a:lnTo>
                    <a:pt x="225" y="588"/>
                  </a:lnTo>
                  <a:lnTo>
                    <a:pt x="231" y="588"/>
                  </a:lnTo>
                  <a:lnTo>
                    <a:pt x="232" y="588"/>
                  </a:lnTo>
                  <a:lnTo>
                    <a:pt x="233" y="587"/>
                  </a:lnTo>
                  <a:lnTo>
                    <a:pt x="233" y="584"/>
                  </a:lnTo>
                  <a:lnTo>
                    <a:pt x="234" y="582"/>
                  </a:lnTo>
                  <a:lnTo>
                    <a:pt x="234" y="582"/>
                  </a:lnTo>
                  <a:lnTo>
                    <a:pt x="240" y="574"/>
                  </a:lnTo>
                  <a:lnTo>
                    <a:pt x="241" y="569"/>
                  </a:lnTo>
                  <a:lnTo>
                    <a:pt x="241" y="565"/>
                  </a:lnTo>
                  <a:lnTo>
                    <a:pt x="241" y="565"/>
                  </a:lnTo>
                  <a:lnTo>
                    <a:pt x="240" y="565"/>
                  </a:lnTo>
                  <a:lnTo>
                    <a:pt x="237" y="565"/>
                  </a:lnTo>
                  <a:lnTo>
                    <a:pt x="234" y="565"/>
                  </a:lnTo>
                  <a:lnTo>
                    <a:pt x="234" y="553"/>
                  </a:lnTo>
                  <a:lnTo>
                    <a:pt x="251" y="552"/>
                  </a:lnTo>
                  <a:lnTo>
                    <a:pt x="251" y="552"/>
                  </a:lnTo>
                  <a:lnTo>
                    <a:pt x="253" y="551"/>
                  </a:lnTo>
                  <a:lnTo>
                    <a:pt x="253" y="547"/>
                  </a:lnTo>
                  <a:lnTo>
                    <a:pt x="254" y="541"/>
                  </a:lnTo>
                  <a:lnTo>
                    <a:pt x="273" y="540"/>
                  </a:lnTo>
                  <a:lnTo>
                    <a:pt x="284" y="519"/>
                  </a:lnTo>
                  <a:lnTo>
                    <a:pt x="301" y="508"/>
                  </a:lnTo>
                  <a:lnTo>
                    <a:pt x="314" y="496"/>
                  </a:lnTo>
                  <a:lnTo>
                    <a:pt x="312" y="473"/>
                  </a:lnTo>
                  <a:lnTo>
                    <a:pt x="312" y="473"/>
                  </a:lnTo>
                  <a:lnTo>
                    <a:pt x="314" y="470"/>
                  </a:lnTo>
                  <a:lnTo>
                    <a:pt x="319" y="462"/>
                  </a:lnTo>
                  <a:lnTo>
                    <a:pt x="321" y="457"/>
                  </a:lnTo>
                  <a:lnTo>
                    <a:pt x="323" y="452"/>
                  </a:lnTo>
                  <a:lnTo>
                    <a:pt x="324" y="446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1" y="433"/>
                  </a:lnTo>
                  <a:lnTo>
                    <a:pt x="317" y="426"/>
                  </a:lnTo>
                  <a:lnTo>
                    <a:pt x="310" y="416"/>
                  </a:lnTo>
                  <a:lnTo>
                    <a:pt x="302" y="407"/>
                  </a:lnTo>
                  <a:lnTo>
                    <a:pt x="299" y="404"/>
                  </a:lnTo>
                  <a:lnTo>
                    <a:pt x="298" y="400"/>
                  </a:lnTo>
                  <a:lnTo>
                    <a:pt x="298" y="400"/>
                  </a:lnTo>
                  <a:lnTo>
                    <a:pt x="295" y="394"/>
                  </a:lnTo>
                  <a:lnTo>
                    <a:pt x="295" y="389"/>
                  </a:lnTo>
                  <a:lnTo>
                    <a:pt x="297" y="383"/>
                  </a:lnTo>
                  <a:lnTo>
                    <a:pt x="298" y="378"/>
                  </a:lnTo>
                  <a:lnTo>
                    <a:pt x="301" y="373"/>
                  </a:lnTo>
                  <a:lnTo>
                    <a:pt x="304" y="369"/>
                  </a:lnTo>
                  <a:lnTo>
                    <a:pt x="315" y="359"/>
                  </a:lnTo>
                  <a:lnTo>
                    <a:pt x="315" y="359"/>
                  </a:lnTo>
                  <a:lnTo>
                    <a:pt x="317" y="356"/>
                  </a:lnTo>
                  <a:lnTo>
                    <a:pt x="319" y="352"/>
                  </a:lnTo>
                  <a:lnTo>
                    <a:pt x="320" y="347"/>
                  </a:lnTo>
                  <a:lnTo>
                    <a:pt x="320" y="347"/>
                  </a:lnTo>
                  <a:lnTo>
                    <a:pt x="334" y="347"/>
                  </a:lnTo>
                  <a:lnTo>
                    <a:pt x="339" y="347"/>
                  </a:lnTo>
                  <a:lnTo>
                    <a:pt x="342" y="347"/>
                  </a:lnTo>
                  <a:lnTo>
                    <a:pt x="343" y="346"/>
                  </a:lnTo>
                  <a:lnTo>
                    <a:pt x="351" y="338"/>
                  </a:lnTo>
                  <a:lnTo>
                    <a:pt x="351" y="338"/>
                  </a:lnTo>
                  <a:lnTo>
                    <a:pt x="369" y="354"/>
                  </a:lnTo>
                  <a:lnTo>
                    <a:pt x="381" y="372"/>
                  </a:lnTo>
                  <a:lnTo>
                    <a:pt x="395" y="372"/>
                  </a:lnTo>
                  <a:lnTo>
                    <a:pt x="391" y="352"/>
                  </a:lnTo>
                  <a:lnTo>
                    <a:pt x="403" y="338"/>
                  </a:lnTo>
                  <a:lnTo>
                    <a:pt x="425" y="339"/>
                  </a:lnTo>
                  <a:lnTo>
                    <a:pt x="442" y="346"/>
                  </a:lnTo>
                  <a:lnTo>
                    <a:pt x="442" y="346"/>
                  </a:lnTo>
                  <a:lnTo>
                    <a:pt x="443" y="355"/>
                  </a:lnTo>
                  <a:lnTo>
                    <a:pt x="446" y="363"/>
                  </a:lnTo>
                  <a:lnTo>
                    <a:pt x="448" y="367"/>
                  </a:lnTo>
                  <a:lnTo>
                    <a:pt x="448" y="367"/>
                  </a:lnTo>
                  <a:lnTo>
                    <a:pt x="452" y="367"/>
                  </a:lnTo>
                  <a:lnTo>
                    <a:pt x="457" y="368"/>
                  </a:lnTo>
                  <a:lnTo>
                    <a:pt x="460" y="369"/>
                  </a:lnTo>
                  <a:lnTo>
                    <a:pt x="463" y="370"/>
                  </a:lnTo>
                  <a:lnTo>
                    <a:pt x="464" y="374"/>
                  </a:lnTo>
                  <a:lnTo>
                    <a:pt x="464" y="379"/>
                  </a:lnTo>
                  <a:lnTo>
                    <a:pt x="464" y="379"/>
                  </a:lnTo>
                  <a:lnTo>
                    <a:pt x="464" y="383"/>
                  </a:lnTo>
                  <a:lnTo>
                    <a:pt x="463" y="386"/>
                  </a:lnTo>
                  <a:lnTo>
                    <a:pt x="463" y="391"/>
                  </a:lnTo>
                  <a:lnTo>
                    <a:pt x="464" y="392"/>
                  </a:lnTo>
                  <a:lnTo>
                    <a:pt x="466" y="394"/>
                  </a:lnTo>
                  <a:lnTo>
                    <a:pt x="470" y="395"/>
                  </a:lnTo>
                  <a:lnTo>
                    <a:pt x="478" y="394"/>
                  </a:lnTo>
                  <a:lnTo>
                    <a:pt x="478" y="394"/>
                  </a:lnTo>
                  <a:lnTo>
                    <a:pt x="482" y="395"/>
                  </a:lnTo>
                  <a:lnTo>
                    <a:pt x="486" y="396"/>
                  </a:lnTo>
                  <a:lnTo>
                    <a:pt x="488" y="402"/>
                  </a:lnTo>
                  <a:lnTo>
                    <a:pt x="488" y="402"/>
                  </a:lnTo>
                  <a:lnTo>
                    <a:pt x="498" y="411"/>
                  </a:lnTo>
                  <a:lnTo>
                    <a:pt x="501" y="413"/>
                  </a:lnTo>
                  <a:lnTo>
                    <a:pt x="505" y="414"/>
                  </a:lnTo>
                  <a:lnTo>
                    <a:pt x="508" y="414"/>
                  </a:lnTo>
                  <a:lnTo>
                    <a:pt x="512" y="412"/>
                  </a:lnTo>
                  <a:lnTo>
                    <a:pt x="522" y="403"/>
                  </a:lnTo>
                  <a:lnTo>
                    <a:pt x="522" y="403"/>
                  </a:lnTo>
                  <a:lnTo>
                    <a:pt x="522" y="382"/>
                  </a:lnTo>
                  <a:lnTo>
                    <a:pt x="522" y="382"/>
                  </a:lnTo>
                  <a:lnTo>
                    <a:pt x="547" y="379"/>
                  </a:lnTo>
                  <a:lnTo>
                    <a:pt x="564" y="378"/>
                  </a:lnTo>
                  <a:lnTo>
                    <a:pt x="569" y="378"/>
                  </a:lnTo>
                  <a:lnTo>
                    <a:pt x="571" y="378"/>
                  </a:lnTo>
                  <a:lnTo>
                    <a:pt x="571" y="378"/>
                  </a:lnTo>
                  <a:lnTo>
                    <a:pt x="574" y="391"/>
                  </a:lnTo>
                  <a:lnTo>
                    <a:pt x="574" y="391"/>
                  </a:lnTo>
                  <a:lnTo>
                    <a:pt x="583" y="391"/>
                  </a:lnTo>
                  <a:lnTo>
                    <a:pt x="588" y="392"/>
                  </a:lnTo>
                  <a:lnTo>
                    <a:pt x="596" y="395"/>
                  </a:lnTo>
                  <a:lnTo>
                    <a:pt x="596" y="395"/>
                  </a:lnTo>
                  <a:lnTo>
                    <a:pt x="600" y="395"/>
                  </a:lnTo>
                  <a:lnTo>
                    <a:pt x="606" y="394"/>
                  </a:lnTo>
                  <a:lnTo>
                    <a:pt x="619" y="386"/>
                  </a:lnTo>
                  <a:lnTo>
                    <a:pt x="619" y="386"/>
                  </a:lnTo>
                  <a:lnTo>
                    <a:pt x="622" y="381"/>
                  </a:lnTo>
                  <a:lnTo>
                    <a:pt x="625" y="377"/>
                  </a:lnTo>
                  <a:lnTo>
                    <a:pt x="626" y="377"/>
                  </a:lnTo>
                  <a:lnTo>
                    <a:pt x="627" y="377"/>
                  </a:lnTo>
                  <a:lnTo>
                    <a:pt x="628" y="378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4" y="389"/>
                  </a:lnTo>
                  <a:lnTo>
                    <a:pt x="639" y="395"/>
                  </a:lnTo>
                  <a:lnTo>
                    <a:pt x="645" y="404"/>
                  </a:lnTo>
                  <a:lnTo>
                    <a:pt x="652" y="409"/>
                  </a:lnTo>
                  <a:lnTo>
                    <a:pt x="653" y="412"/>
                  </a:lnTo>
                  <a:lnTo>
                    <a:pt x="653" y="414"/>
                  </a:lnTo>
                  <a:lnTo>
                    <a:pt x="653" y="414"/>
                  </a:lnTo>
                  <a:lnTo>
                    <a:pt x="653" y="421"/>
                  </a:lnTo>
                  <a:lnTo>
                    <a:pt x="649" y="446"/>
                  </a:lnTo>
                  <a:lnTo>
                    <a:pt x="649" y="446"/>
                  </a:lnTo>
                  <a:lnTo>
                    <a:pt x="649" y="449"/>
                  </a:lnTo>
                  <a:lnTo>
                    <a:pt x="652" y="453"/>
                  </a:lnTo>
                  <a:lnTo>
                    <a:pt x="654" y="457"/>
                  </a:lnTo>
                  <a:lnTo>
                    <a:pt x="660" y="460"/>
                  </a:lnTo>
                  <a:lnTo>
                    <a:pt x="671" y="462"/>
                  </a:lnTo>
                  <a:lnTo>
                    <a:pt x="685" y="465"/>
                  </a:lnTo>
                  <a:lnTo>
                    <a:pt x="698" y="465"/>
                  </a:lnTo>
                  <a:lnTo>
                    <a:pt x="711" y="465"/>
                  </a:lnTo>
                  <a:lnTo>
                    <a:pt x="723" y="465"/>
                  </a:lnTo>
                  <a:lnTo>
                    <a:pt x="729" y="451"/>
                  </a:lnTo>
                  <a:lnTo>
                    <a:pt x="729" y="451"/>
                  </a:lnTo>
                  <a:lnTo>
                    <a:pt x="761" y="444"/>
                  </a:lnTo>
                  <a:lnTo>
                    <a:pt x="775" y="442"/>
                  </a:lnTo>
                  <a:lnTo>
                    <a:pt x="781" y="440"/>
                  </a:lnTo>
                  <a:lnTo>
                    <a:pt x="781" y="440"/>
                  </a:lnTo>
                  <a:lnTo>
                    <a:pt x="783" y="443"/>
                  </a:lnTo>
                  <a:lnTo>
                    <a:pt x="784" y="446"/>
                  </a:lnTo>
                  <a:lnTo>
                    <a:pt x="785" y="451"/>
                  </a:lnTo>
                  <a:lnTo>
                    <a:pt x="789" y="456"/>
                  </a:lnTo>
                  <a:lnTo>
                    <a:pt x="789" y="456"/>
                  </a:lnTo>
                  <a:lnTo>
                    <a:pt x="793" y="468"/>
                  </a:lnTo>
                  <a:lnTo>
                    <a:pt x="794" y="481"/>
                  </a:lnTo>
                  <a:lnTo>
                    <a:pt x="797" y="495"/>
                  </a:lnTo>
                  <a:lnTo>
                    <a:pt x="797" y="495"/>
                  </a:lnTo>
                  <a:lnTo>
                    <a:pt x="798" y="495"/>
                  </a:lnTo>
                  <a:lnTo>
                    <a:pt x="801" y="494"/>
                  </a:lnTo>
                  <a:lnTo>
                    <a:pt x="807" y="491"/>
                  </a:lnTo>
                  <a:lnTo>
                    <a:pt x="816" y="487"/>
                  </a:lnTo>
                  <a:lnTo>
                    <a:pt x="816" y="487"/>
                  </a:lnTo>
                  <a:lnTo>
                    <a:pt x="824" y="490"/>
                  </a:lnTo>
                  <a:lnTo>
                    <a:pt x="831" y="491"/>
                  </a:lnTo>
                  <a:lnTo>
                    <a:pt x="842" y="492"/>
                  </a:lnTo>
                  <a:lnTo>
                    <a:pt x="851" y="492"/>
                  </a:lnTo>
                  <a:lnTo>
                    <a:pt x="858" y="492"/>
                  </a:lnTo>
                  <a:lnTo>
                    <a:pt x="858" y="492"/>
                  </a:lnTo>
                  <a:lnTo>
                    <a:pt x="863" y="501"/>
                  </a:lnTo>
                  <a:lnTo>
                    <a:pt x="869" y="499"/>
                  </a:lnTo>
                  <a:lnTo>
                    <a:pt x="877" y="509"/>
                  </a:lnTo>
                  <a:lnTo>
                    <a:pt x="921" y="508"/>
                  </a:lnTo>
                  <a:lnTo>
                    <a:pt x="921" y="501"/>
                  </a:lnTo>
                  <a:lnTo>
                    <a:pt x="902" y="503"/>
                  </a:lnTo>
                  <a:lnTo>
                    <a:pt x="891" y="492"/>
                  </a:lnTo>
                  <a:lnTo>
                    <a:pt x="897" y="487"/>
                  </a:lnTo>
                  <a:lnTo>
                    <a:pt x="903" y="488"/>
                  </a:lnTo>
                  <a:lnTo>
                    <a:pt x="914" y="497"/>
                  </a:lnTo>
                  <a:lnTo>
                    <a:pt x="921" y="497"/>
                  </a:lnTo>
                  <a:lnTo>
                    <a:pt x="919" y="477"/>
                  </a:lnTo>
                  <a:lnTo>
                    <a:pt x="926" y="474"/>
                  </a:lnTo>
                  <a:lnTo>
                    <a:pt x="925" y="462"/>
                  </a:lnTo>
                  <a:lnTo>
                    <a:pt x="932" y="459"/>
                  </a:lnTo>
                  <a:lnTo>
                    <a:pt x="924" y="443"/>
                  </a:lnTo>
                  <a:lnTo>
                    <a:pt x="924" y="443"/>
                  </a:lnTo>
                  <a:lnTo>
                    <a:pt x="917" y="447"/>
                  </a:lnTo>
                  <a:lnTo>
                    <a:pt x="912" y="449"/>
                  </a:lnTo>
                  <a:lnTo>
                    <a:pt x="907" y="451"/>
                  </a:lnTo>
                  <a:lnTo>
                    <a:pt x="907" y="451"/>
                  </a:lnTo>
                  <a:lnTo>
                    <a:pt x="906" y="456"/>
                  </a:lnTo>
                  <a:lnTo>
                    <a:pt x="903" y="461"/>
                  </a:lnTo>
                  <a:lnTo>
                    <a:pt x="901" y="465"/>
                  </a:lnTo>
                  <a:lnTo>
                    <a:pt x="902" y="469"/>
                  </a:lnTo>
                  <a:lnTo>
                    <a:pt x="902" y="469"/>
                  </a:lnTo>
                  <a:lnTo>
                    <a:pt x="893" y="469"/>
                  </a:lnTo>
                  <a:lnTo>
                    <a:pt x="888" y="469"/>
                  </a:lnTo>
                  <a:lnTo>
                    <a:pt x="884" y="469"/>
                  </a:lnTo>
                  <a:lnTo>
                    <a:pt x="884" y="469"/>
                  </a:lnTo>
                  <a:lnTo>
                    <a:pt x="882" y="465"/>
                  </a:lnTo>
                  <a:lnTo>
                    <a:pt x="881" y="461"/>
                  </a:lnTo>
                  <a:lnTo>
                    <a:pt x="881" y="455"/>
                  </a:lnTo>
                  <a:lnTo>
                    <a:pt x="886" y="446"/>
                  </a:lnTo>
                  <a:lnTo>
                    <a:pt x="879" y="436"/>
                  </a:lnTo>
                  <a:lnTo>
                    <a:pt x="879" y="436"/>
                  </a:lnTo>
                  <a:lnTo>
                    <a:pt x="875" y="442"/>
                  </a:lnTo>
                  <a:lnTo>
                    <a:pt x="872" y="444"/>
                  </a:lnTo>
                  <a:lnTo>
                    <a:pt x="868" y="446"/>
                  </a:lnTo>
                  <a:lnTo>
                    <a:pt x="868" y="446"/>
                  </a:lnTo>
                  <a:lnTo>
                    <a:pt x="869" y="443"/>
                  </a:lnTo>
                  <a:lnTo>
                    <a:pt x="871" y="439"/>
                  </a:lnTo>
                  <a:lnTo>
                    <a:pt x="873" y="434"/>
                  </a:lnTo>
                  <a:lnTo>
                    <a:pt x="873" y="434"/>
                  </a:lnTo>
                  <a:lnTo>
                    <a:pt x="880" y="424"/>
                  </a:lnTo>
                  <a:lnTo>
                    <a:pt x="885" y="416"/>
                  </a:lnTo>
                  <a:lnTo>
                    <a:pt x="889" y="412"/>
                  </a:lnTo>
                  <a:lnTo>
                    <a:pt x="889" y="412"/>
                  </a:lnTo>
                  <a:lnTo>
                    <a:pt x="893" y="407"/>
                  </a:lnTo>
                  <a:lnTo>
                    <a:pt x="894" y="403"/>
                  </a:lnTo>
                  <a:lnTo>
                    <a:pt x="894" y="400"/>
                  </a:lnTo>
                  <a:lnTo>
                    <a:pt x="894" y="398"/>
                  </a:lnTo>
                  <a:lnTo>
                    <a:pt x="891" y="396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6"/>
                  </a:lnTo>
                  <a:lnTo>
                    <a:pt x="881" y="396"/>
                  </a:lnTo>
                  <a:lnTo>
                    <a:pt x="868" y="405"/>
                  </a:lnTo>
                  <a:lnTo>
                    <a:pt x="863" y="409"/>
                  </a:lnTo>
                  <a:lnTo>
                    <a:pt x="855" y="411"/>
                  </a:lnTo>
                  <a:lnTo>
                    <a:pt x="855" y="411"/>
                  </a:lnTo>
                  <a:lnTo>
                    <a:pt x="853" y="407"/>
                  </a:lnTo>
                  <a:lnTo>
                    <a:pt x="851" y="400"/>
                  </a:lnTo>
                  <a:lnTo>
                    <a:pt x="850" y="391"/>
                  </a:lnTo>
                  <a:lnTo>
                    <a:pt x="853" y="382"/>
                  </a:lnTo>
                  <a:lnTo>
                    <a:pt x="853" y="382"/>
                  </a:lnTo>
                  <a:lnTo>
                    <a:pt x="862" y="383"/>
                  </a:lnTo>
                  <a:lnTo>
                    <a:pt x="862" y="383"/>
                  </a:lnTo>
                  <a:lnTo>
                    <a:pt x="864" y="383"/>
                  </a:lnTo>
                  <a:lnTo>
                    <a:pt x="868" y="383"/>
                  </a:lnTo>
                  <a:lnTo>
                    <a:pt x="869" y="382"/>
                  </a:lnTo>
                  <a:lnTo>
                    <a:pt x="871" y="382"/>
                  </a:lnTo>
                  <a:lnTo>
                    <a:pt x="872" y="379"/>
                  </a:lnTo>
                  <a:lnTo>
                    <a:pt x="871" y="377"/>
                  </a:lnTo>
                  <a:lnTo>
                    <a:pt x="871" y="377"/>
                  </a:lnTo>
                  <a:lnTo>
                    <a:pt x="853" y="352"/>
                  </a:lnTo>
                  <a:lnTo>
                    <a:pt x="853" y="352"/>
                  </a:lnTo>
                  <a:lnTo>
                    <a:pt x="849" y="351"/>
                  </a:lnTo>
                  <a:lnTo>
                    <a:pt x="846" y="350"/>
                  </a:lnTo>
                  <a:lnTo>
                    <a:pt x="844" y="344"/>
                  </a:lnTo>
                  <a:lnTo>
                    <a:pt x="844" y="337"/>
                  </a:lnTo>
                  <a:lnTo>
                    <a:pt x="844" y="337"/>
                  </a:lnTo>
                  <a:lnTo>
                    <a:pt x="842" y="334"/>
                  </a:lnTo>
                  <a:lnTo>
                    <a:pt x="841" y="333"/>
                  </a:lnTo>
                  <a:lnTo>
                    <a:pt x="840" y="332"/>
                  </a:lnTo>
                  <a:lnTo>
                    <a:pt x="840" y="332"/>
                  </a:lnTo>
                  <a:lnTo>
                    <a:pt x="834" y="332"/>
                  </a:lnTo>
                  <a:lnTo>
                    <a:pt x="832" y="332"/>
                  </a:lnTo>
                  <a:lnTo>
                    <a:pt x="829" y="330"/>
                  </a:lnTo>
                  <a:lnTo>
                    <a:pt x="829" y="330"/>
                  </a:lnTo>
                  <a:lnTo>
                    <a:pt x="829" y="328"/>
                  </a:lnTo>
                  <a:lnTo>
                    <a:pt x="829" y="324"/>
                  </a:lnTo>
                  <a:lnTo>
                    <a:pt x="833" y="312"/>
                  </a:lnTo>
                  <a:lnTo>
                    <a:pt x="836" y="299"/>
                  </a:lnTo>
                  <a:lnTo>
                    <a:pt x="837" y="290"/>
                  </a:lnTo>
                  <a:lnTo>
                    <a:pt x="837" y="290"/>
                  </a:lnTo>
                  <a:lnTo>
                    <a:pt x="841" y="285"/>
                  </a:lnTo>
                  <a:lnTo>
                    <a:pt x="842" y="281"/>
                  </a:lnTo>
                  <a:lnTo>
                    <a:pt x="844" y="276"/>
                  </a:lnTo>
                  <a:lnTo>
                    <a:pt x="844" y="276"/>
                  </a:lnTo>
                  <a:lnTo>
                    <a:pt x="845" y="272"/>
                  </a:lnTo>
                  <a:lnTo>
                    <a:pt x="846" y="268"/>
                  </a:lnTo>
                  <a:lnTo>
                    <a:pt x="849" y="265"/>
                  </a:lnTo>
                  <a:lnTo>
                    <a:pt x="851" y="265"/>
                  </a:lnTo>
                  <a:lnTo>
                    <a:pt x="855" y="265"/>
                  </a:lnTo>
                  <a:lnTo>
                    <a:pt x="860" y="267"/>
                  </a:lnTo>
                  <a:lnTo>
                    <a:pt x="860" y="267"/>
                  </a:lnTo>
                  <a:lnTo>
                    <a:pt x="868" y="268"/>
                  </a:lnTo>
                  <a:lnTo>
                    <a:pt x="871" y="268"/>
                  </a:lnTo>
                  <a:lnTo>
                    <a:pt x="872" y="267"/>
                  </a:lnTo>
                  <a:lnTo>
                    <a:pt x="875" y="263"/>
                  </a:lnTo>
                  <a:lnTo>
                    <a:pt x="876" y="256"/>
                  </a:lnTo>
                  <a:lnTo>
                    <a:pt x="876" y="256"/>
                  </a:lnTo>
                  <a:lnTo>
                    <a:pt x="877" y="243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5" y="230"/>
                  </a:lnTo>
                  <a:lnTo>
                    <a:pt x="871" y="229"/>
                  </a:lnTo>
                  <a:lnTo>
                    <a:pt x="867" y="229"/>
                  </a:lnTo>
                  <a:lnTo>
                    <a:pt x="867" y="229"/>
                  </a:lnTo>
                  <a:lnTo>
                    <a:pt x="864" y="229"/>
                  </a:lnTo>
                  <a:lnTo>
                    <a:pt x="863" y="232"/>
                  </a:lnTo>
                  <a:lnTo>
                    <a:pt x="862" y="234"/>
                  </a:lnTo>
                  <a:lnTo>
                    <a:pt x="862" y="238"/>
                  </a:lnTo>
                  <a:lnTo>
                    <a:pt x="862" y="240"/>
                  </a:lnTo>
                  <a:lnTo>
                    <a:pt x="862" y="241"/>
                  </a:lnTo>
                  <a:lnTo>
                    <a:pt x="862" y="241"/>
                  </a:lnTo>
                  <a:lnTo>
                    <a:pt x="855" y="242"/>
                  </a:lnTo>
                  <a:lnTo>
                    <a:pt x="853" y="242"/>
                  </a:lnTo>
                  <a:lnTo>
                    <a:pt x="850" y="243"/>
                  </a:lnTo>
                  <a:lnTo>
                    <a:pt x="850" y="243"/>
                  </a:lnTo>
                  <a:lnTo>
                    <a:pt x="850" y="245"/>
                  </a:lnTo>
                  <a:lnTo>
                    <a:pt x="850" y="246"/>
                  </a:lnTo>
                  <a:lnTo>
                    <a:pt x="853" y="249"/>
                  </a:lnTo>
                  <a:lnTo>
                    <a:pt x="854" y="251"/>
                  </a:lnTo>
                  <a:lnTo>
                    <a:pt x="855" y="252"/>
                  </a:lnTo>
                  <a:lnTo>
                    <a:pt x="854" y="254"/>
                  </a:lnTo>
                  <a:lnTo>
                    <a:pt x="854" y="254"/>
                  </a:lnTo>
                  <a:lnTo>
                    <a:pt x="851" y="254"/>
                  </a:lnTo>
                  <a:lnTo>
                    <a:pt x="849" y="254"/>
                  </a:lnTo>
                  <a:lnTo>
                    <a:pt x="841" y="250"/>
                  </a:lnTo>
                  <a:lnTo>
                    <a:pt x="841" y="250"/>
                  </a:lnTo>
                  <a:lnTo>
                    <a:pt x="837" y="252"/>
                  </a:lnTo>
                  <a:lnTo>
                    <a:pt x="833" y="255"/>
                  </a:lnTo>
                  <a:lnTo>
                    <a:pt x="829" y="256"/>
                  </a:lnTo>
                  <a:lnTo>
                    <a:pt x="827" y="256"/>
                  </a:lnTo>
                  <a:lnTo>
                    <a:pt x="821" y="255"/>
                  </a:lnTo>
                  <a:lnTo>
                    <a:pt x="818" y="254"/>
                  </a:lnTo>
                  <a:lnTo>
                    <a:pt x="818" y="254"/>
                  </a:lnTo>
                  <a:lnTo>
                    <a:pt x="809" y="254"/>
                  </a:lnTo>
                  <a:lnTo>
                    <a:pt x="805" y="252"/>
                  </a:lnTo>
                  <a:lnTo>
                    <a:pt x="801" y="249"/>
                  </a:lnTo>
                  <a:lnTo>
                    <a:pt x="801" y="249"/>
                  </a:lnTo>
                  <a:lnTo>
                    <a:pt x="801" y="243"/>
                  </a:lnTo>
                  <a:lnTo>
                    <a:pt x="799" y="240"/>
                  </a:lnTo>
                  <a:lnTo>
                    <a:pt x="797" y="236"/>
                  </a:lnTo>
                  <a:lnTo>
                    <a:pt x="793" y="233"/>
                  </a:lnTo>
                  <a:lnTo>
                    <a:pt x="788" y="230"/>
                  </a:lnTo>
                  <a:lnTo>
                    <a:pt x="779" y="229"/>
                  </a:lnTo>
                  <a:lnTo>
                    <a:pt x="767" y="229"/>
                  </a:lnTo>
                  <a:lnTo>
                    <a:pt x="767" y="229"/>
                  </a:lnTo>
                  <a:lnTo>
                    <a:pt x="754" y="229"/>
                  </a:lnTo>
                  <a:lnTo>
                    <a:pt x="745" y="230"/>
                  </a:lnTo>
                  <a:lnTo>
                    <a:pt x="745" y="230"/>
                  </a:lnTo>
                  <a:lnTo>
                    <a:pt x="742" y="233"/>
                  </a:lnTo>
                  <a:lnTo>
                    <a:pt x="740" y="237"/>
                  </a:lnTo>
                  <a:lnTo>
                    <a:pt x="740" y="242"/>
                  </a:lnTo>
                  <a:lnTo>
                    <a:pt x="740" y="246"/>
                  </a:lnTo>
                  <a:lnTo>
                    <a:pt x="740" y="246"/>
                  </a:lnTo>
                  <a:lnTo>
                    <a:pt x="741" y="246"/>
                  </a:lnTo>
                  <a:lnTo>
                    <a:pt x="744" y="246"/>
                  </a:lnTo>
                  <a:lnTo>
                    <a:pt x="752" y="243"/>
                  </a:lnTo>
                  <a:lnTo>
                    <a:pt x="755" y="243"/>
                  </a:lnTo>
                  <a:lnTo>
                    <a:pt x="758" y="243"/>
                  </a:lnTo>
                  <a:lnTo>
                    <a:pt x="761" y="245"/>
                  </a:lnTo>
                  <a:lnTo>
                    <a:pt x="762" y="249"/>
                  </a:lnTo>
                  <a:lnTo>
                    <a:pt x="762" y="249"/>
                  </a:lnTo>
                  <a:lnTo>
                    <a:pt x="761" y="254"/>
                  </a:lnTo>
                  <a:lnTo>
                    <a:pt x="758" y="256"/>
                  </a:lnTo>
                  <a:lnTo>
                    <a:pt x="755" y="258"/>
                  </a:lnTo>
                  <a:lnTo>
                    <a:pt x="754" y="259"/>
                  </a:lnTo>
                  <a:lnTo>
                    <a:pt x="750" y="258"/>
                  </a:lnTo>
                  <a:lnTo>
                    <a:pt x="748" y="256"/>
                  </a:lnTo>
                  <a:lnTo>
                    <a:pt x="748" y="256"/>
                  </a:lnTo>
                  <a:lnTo>
                    <a:pt x="745" y="258"/>
                  </a:lnTo>
                  <a:lnTo>
                    <a:pt x="742" y="262"/>
                  </a:lnTo>
                  <a:lnTo>
                    <a:pt x="737" y="272"/>
                  </a:lnTo>
                  <a:lnTo>
                    <a:pt x="737" y="272"/>
                  </a:lnTo>
                  <a:lnTo>
                    <a:pt x="729" y="271"/>
                  </a:lnTo>
                  <a:lnTo>
                    <a:pt x="726" y="268"/>
                  </a:lnTo>
                  <a:lnTo>
                    <a:pt x="723" y="265"/>
                  </a:lnTo>
                  <a:lnTo>
                    <a:pt x="723" y="264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8" y="234"/>
                  </a:lnTo>
                  <a:lnTo>
                    <a:pt x="733" y="232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29"/>
                  </a:lnTo>
                  <a:lnTo>
                    <a:pt x="732" y="228"/>
                  </a:lnTo>
                  <a:lnTo>
                    <a:pt x="724" y="224"/>
                  </a:lnTo>
                  <a:lnTo>
                    <a:pt x="717" y="220"/>
                  </a:lnTo>
                  <a:lnTo>
                    <a:pt x="714" y="217"/>
                  </a:lnTo>
                  <a:lnTo>
                    <a:pt x="711" y="215"/>
                  </a:lnTo>
                  <a:lnTo>
                    <a:pt x="711" y="215"/>
                  </a:lnTo>
                  <a:lnTo>
                    <a:pt x="713" y="212"/>
                  </a:lnTo>
                  <a:lnTo>
                    <a:pt x="714" y="210"/>
                  </a:lnTo>
                  <a:lnTo>
                    <a:pt x="717" y="206"/>
                  </a:lnTo>
                  <a:lnTo>
                    <a:pt x="717" y="206"/>
                  </a:lnTo>
                  <a:lnTo>
                    <a:pt x="714" y="202"/>
                  </a:lnTo>
                  <a:lnTo>
                    <a:pt x="710" y="198"/>
                  </a:lnTo>
                  <a:lnTo>
                    <a:pt x="705" y="194"/>
                  </a:lnTo>
                  <a:lnTo>
                    <a:pt x="700" y="190"/>
                  </a:lnTo>
                  <a:lnTo>
                    <a:pt x="688" y="186"/>
                  </a:lnTo>
                  <a:lnTo>
                    <a:pt x="684" y="185"/>
                  </a:lnTo>
                  <a:lnTo>
                    <a:pt x="680" y="185"/>
                  </a:lnTo>
                  <a:lnTo>
                    <a:pt x="680" y="185"/>
                  </a:lnTo>
                  <a:lnTo>
                    <a:pt x="679" y="188"/>
                  </a:lnTo>
                  <a:lnTo>
                    <a:pt x="679" y="190"/>
                  </a:lnTo>
                  <a:lnTo>
                    <a:pt x="679" y="194"/>
                  </a:lnTo>
                  <a:lnTo>
                    <a:pt x="679" y="194"/>
                  </a:lnTo>
                  <a:lnTo>
                    <a:pt x="680" y="199"/>
                  </a:lnTo>
                  <a:lnTo>
                    <a:pt x="683" y="205"/>
                  </a:lnTo>
                  <a:lnTo>
                    <a:pt x="692" y="217"/>
                  </a:lnTo>
                  <a:lnTo>
                    <a:pt x="700" y="227"/>
                  </a:lnTo>
                  <a:lnTo>
                    <a:pt x="702" y="229"/>
                  </a:lnTo>
                  <a:lnTo>
                    <a:pt x="702" y="232"/>
                  </a:lnTo>
                  <a:lnTo>
                    <a:pt x="702" y="232"/>
                  </a:lnTo>
                  <a:lnTo>
                    <a:pt x="697" y="230"/>
                  </a:lnTo>
                  <a:lnTo>
                    <a:pt x="691" y="229"/>
                  </a:lnTo>
                  <a:lnTo>
                    <a:pt x="680" y="224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65" y="214"/>
                  </a:lnTo>
                  <a:lnTo>
                    <a:pt x="657" y="212"/>
                  </a:lnTo>
                  <a:lnTo>
                    <a:pt x="654" y="212"/>
                  </a:lnTo>
                  <a:lnTo>
                    <a:pt x="650" y="214"/>
                  </a:lnTo>
                  <a:lnTo>
                    <a:pt x="649" y="217"/>
                  </a:lnTo>
                  <a:lnTo>
                    <a:pt x="649" y="224"/>
                  </a:lnTo>
                  <a:lnTo>
                    <a:pt x="649" y="224"/>
                  </a:lnTo>
                  <a:lnTo>
                    <a:pt x="649" y="232"/>
                  </a:lnTo>
                  <a:lnTo>
                    <a:pt x="648" y="236"/>
                  </a:lnTo>
                  <a:lnTo>
                    <a:pt x="647" y="238"/>
                  </a:lnTo>
                  <a:lnTo>
                    <a:pt x="643" y="241"/>
                  </a:lnTo>
                  <a:lnTo>
                    <a:pt x="637" y="241"/>
                  </a:lnTo>
                  <a:lnTo>
                    <a:pt x="631" y="238"/>
                  </a:lnTo>
                  <a:lnTo>
                    <a:pt x="621" y="234"/>
                  </a:lnTo>
                  <a:lnTo>
                    <a:pt x="621" y="234"/>
                  </a:lnTo>
                  <a:lnTo>
                    <a:pt x="618" y="232"/>
                  </a:lnTo>
                  <a:lnTo>
                    <a:pt x="612" y="229"/>
                  </a:lnTo>
                  <a:lnTo>
                    <a:pt x="608" y="229"/>
                  </a:lnTo>
                  <a:lnTo>
                    <a:pt x="604" y="229"/>
                  </a:lnTo>
                  <a:lnTo>
                    <a:pt x="600" y="232"/>
                  </a:lnTo>
                  <a:lnTo>
                    <a:pt x="596" y="236"/>
                  </a:lnTo>
                  <a:lnTo>
                    <a:pt x="596" y="236"/>
                  </a:lnTo>
                  <a:lnTo>
                    <a:pt x="592" y="240"/>
                  </a:lnTo>
                  <a:lnTo>
                    <a:pt x="588" y="242"/>
                  </a:lnTo>
                  <a:lnTo>
                    <a:pt x="586" y="242"/>
                  </a:lnTo>
                  <a:lnTo>
                    <a:pt x="583" y="241"/>
                  </a:lnTo>
                  <a:lnTo>
                    <a:pt x="580" y="238"/>
                  </a:lnTo>
                  <a:lnTo>
                    <a:pt x="578" y="236"/>
                  </a:lnTo>
                  <a:lnTo>
                    <a:pt x="573" y="228"/>
                  </a:lnTo>
                  <a:lnTo>
                    <a:pt x="573" y="228"/>
                  </a:lnTo>
                  <a:lnTo>
                    <a:pt x="569" y="221"/>
                  </a:lnTo>
                  <a:lnTo>
                    <a:pt x="566" y="212"/>
                  </a:lnTo>
                  <a:lnTo>
                    <a:pt x="565" y="208"/>
                  </a:lnTo>
                  <a:lnTo>
                    <a:pt x="565" y="205"/>
                  </a:lnTo>
                  <a:lnTo>
                    <a:pt x="568" y="201"/>
                  </a:lnTo>
                  <a:lnTo>
                    <a:pt x="570" y="198"/>
                  </a:lnTo>
                  <a:lnTo>
                    <a:pt x="570" y="198"/>
                  </a:lnTo>
                  <a:lnTo>
                    <a:pt x="574" y="198"/>
                  </a:lnTo>
                  <a:lnTo>
                    <a:pt x="578" y="199"/>
                  </a:lnTo>
                  <a:lnTo>
                    <a:pt x="583" y="199"/>
                  </a:lnTo>
                  <a:lnTo>
                    <a:pt x="586" y="198"/>
                  </a:lnTo>
                  <a:lnTo>
                    <a:pt x="586" y="198"/>
                  </a:lnTo>
                  <a:lnTo>
                    <a:pt x="587" y="194"/>
                  </a:lnTo>
                  <a:lnTo>
                    <a:pt x="586" y="186"/>
                  </a:lnTo>
                  <a:lnTo>
                    <a:pt x="583" y="176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79" y="155"/>
                  </a:lnTo>
                  <a:lnTo>
                    <a:pt x="578" y="153"/>
                  </a:lnTo>
                  <a:lnTo>
                    <a:pt x="579" y="150"/>
                  </a:lnTo>
                  <a:lnTo>
                    <a:pt x="583" y="150"/>
                  </a:lnTo>
                  <a:lnTo>
                    <a:pt x="590" y="149"/>
                  </a:lnTo>
                  <a:lnTo>
                    <a:pt x="592" y="149"/>
                  </a:lnTo>
                  <a:lnTo>
                    <a:pt x="593" y="146"/>
                  </a:lnTo>
                  <a:lnTo>
                    <a:pt x="593" y="146"/>
                  </a:lnTo>
                  <a:lnTo>
                    <a:pt x="595" y="142"/>
                  </a:lnTo>
                  <a:lnTo>
                    <a:pt x="595" y="140"/>
                  </a:lnTo>
                  <a:lnTo>
                    <a:pt x="593" y="136"/>
                  </a:lnTo>
                  <a:lnTo>
                    <a:pt x="591" y="132"/>
                  </a:lnTo>
                  <a:lnTo>
                    <a:pt x="587" y="129"/>
                  </a:lnTo>
                  <a:lnTo>
                    <a:pt x="580" y="128"/>
                  </a:lnTo>
                  <a:lnTo>
                    <a:pt x="571" y="128"/>
                  </a:lnTo>
                  <a:lnTo>
                    <a:pt x="571" y="128"/>
                  </a:lnTo>
                  <a:lnTo>
                    <a:pt x="568" y="123"/>
                  </a:lnTo>
                  <a:lnTo>
                    <a:pt x="564" y="115"/>
                  </a:lnTo>
                  <a:lnTo>
                    <a:pt x="558" y="105"/>
                  </a:lnTo>
                  <a:lnTo>
                    <a:pt x="558" y="105"/>
                  </a:lnTo>
                  <a:lnTo>
                    <a:pt x="558" y="87"/>
                  </a:lnTo>
                  <a:lnTo>
                    <a:pt x="557" y="72"/>
                  </a:lnTo>
                  <a:lnTo>
                    <a:pt x="556" y="59"/>
                  </a:lnTo>
                  <a:lnTo>
                    <a:pt x="556" y="59"/>
                  </a:lnTo>
                  <a:lnTo>
                    <a:pt x="551" y="53"/>
                  </a:lnTo>
                  <a:lnTo>
                    <a:pt x="547" y="46"/>
                  </a:lnTo>
                  <a:lnTo>
                    <a:pt x="539" y="32"/>
                  </a:lnTo>
                  <a:lnTo>
                    <a:pt x="539" y="32"/>
                  </a:lnTo>
                  <a:lnTo>
                    <a:pt x="536" y="28"/>
                  </a:lnTo>
                  <a:lnTo>
                    <a:pt x="535" y="24"/>
                  </a:lnTo>
                  <a:lnTo>
                    <a:pt x="536" y="22"/>
                  </a:lnTo>
                  <a:lnTo>
                    <a:pt x="535" y="19"/>
                  </a:lnTo>
                  <a:lnTo>
                    <a:pt x="535" y="19"/>
                  </a:lnTo>
                  <a:lnTo>
                    <a:pt x="533" y="19"/>
                  </a:lnTo>
                  <a:lnTo>
                    <a:pt x="529" y="19"/>
                  </a:lnTo>
                  <a:lnTo>
                    <a:pt x="523" y="22"/>
                  </a:lnTo>
                  <a:lnTo>
                    <a:pt x="518" y="26"/>
                  </a:lnTo>
                  <a:lnTo>
                    <a:pt x="518" y="26"/>
                  </a:lnTo>
                  <a:lnTo>
                    <a:pt x="512" y="27"/>
                  </a:lnTo>
                  <a:lnTo>
                    <a:pt x="505" y="26"/>
                  </a:lnTo>
                  <a:lnTo>
                    <a:pt x="500" y="27"/>
                  </a:lnTo>
                  <a:lnTo>
                    <a:pt x="498" y="27"/>
                  </a:lnTo>
                  <a:lnTo>
                    <a:pt x="498" y="27"/>
                  </a:lnTo>
                  <a:lnTo>
                    <a:pt x="495" y="27"/>
                  </a:lnTo>
                  <a:lnTo>
                    <a:pt x="494" y="26"/>
                  </a:lnTo>
                  <a:lnTo>
                    <a:pt x="494" y="24"/>
                  </a:lnTo>
                  <a:lnTo>
                    <a:pt x="492" y="24"/>
                  </a:lnTo>
                  <a:lnTo>
                    <a:pt x="492" y="24"/>
                  </a:lnTo>
                  <a:lnTo>
                    <a:pt x="491" y="32"/>
                  </a:lnTo>
                  <a:lnTo>
                    <a:pt x="488" y="35"/>
                  </a:lnTo>
                  <a:lnTo>
                    <a:pt x="487" y="36"/>
                  </a:lnTo>
                  <a:lnTo>
                    <a:pt x="483" y="37"/>
                  </a:lnTo>
                  <a:lnTo>
                    <a:pt x="483" y="37"/>
                  </a:lnTo>
                  <a:lnTo>
                    <a:pt x="478" y="43"/>
                  </a:lnTo>
                  <a:lnTo>
                    <a:pt x="474" y="46"/>
                  </a:lnTo>
                  <a:lnTo>
                    <a:pt x="472" y="48"/>
                  </a:lnTo>
                  <a:lnTo>
                    <a:pt x="468" y="48"/>
                  </a:lnTo>
                  <a:lnTo>
                    <a:pt x="461" y="46"/>
                  </a:lnTo>
                  <a:lnTo>
                    <a:pt x="461" y="46"/>
                  </a:lnTo>
                  <a:lnTo>
                    <a:pt x="452" y="43"/>
                  </a:lnTo>
                  <a:lnTo>
                    <a:pt x="441" y="36"/>
                  </a:lnTo>
                  <a:lnTo>
                    <a:pt x="441" y="36"/>
                  </a:lnTo>
                  <a:lnTo>
                    <a:pt x="439" y="35"/>
                  </a:lnTo>
                  <a:lnTo>
                    <a:pt x="437" y="32"/>
                  </a:lnTo>
                  <a:lnTo>
                    <a:pt x="433" y="27"/>
                  </a:lnTo>
                  <a:lnTo>
                    <a:pt x="430" y="23"/>
                  </a:lnTo>
                  <a:lnTo>
                    <a:pt x="426" y="19"/>
                  </a:lnTo>
                  <a:lnTo>
                    <a:pt x="421" y="17"/>
                  </a:lnTo>
                  <a:lnTo>
                    <a:pt x="413" y="13"/>
                  </a:lnTo>
                  <a:lnTo>
                    <a:pt x="413" y="13"/>
                  </a:lnTo>
                  <a:lnTo>
                    <a:pt x="408" y="13"/>
                  </a:lnTo>
                  <a:lnTo>
                    <a:pt x="402" y="14"/>
                  </a:lnTo>
                  <a:lnTo>
                    <a:pt x="393" y="14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2" y="13"/>
                  </a:lnTo>
                  <a:lnTo>
                    <a:pt x="382" y="11"/>
                  </a:lnTo>
                  <a:lnTo>
                    <a:pt x="382" y="9"/>
                  </a:lnTo>
                  <a:lnTo>
                    <a:pt x="382" y="8"/>
                  </a:lnTo>
                  <a:lnTo>
                    <a:pt x="381" y="6"/>
                  </a:lnTo>
                  <a:lnTo>
                    <a:pt x="380" y="6"/>
                  </a:lnTo>
                  <a:lnTo>
                    <a:pt x="376" y="6"/>
                  </a:lnTo>
                  <a:lnTo>
                    <a:pt x="376" y="6"/>
                  </a:lnTo>
                  <a:lnTo>
                    <a:pt x="373" y="11"/>
                  </a:lnTo>
                  <a:lnTo>
                    <a:pt x="369" y="15"/>
                  </a:lnTo>
                  <a:lnTo>
                    <a:pt x="365" y="18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6" y="15"/>
                  </a:lnTo>
                  <a:lnTo>
                    <a:pt x="351" y="9"/>
                  </a:lnTo>
                  <a:lnTo>
                    <a:pt x="345" y="2"/>
                  </a:lnTo>
                  <a:lnTo>
                    <a:pt x="341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0" y="0"/>
                  </a:lnTo>
                  <a:lnTo>
                    <a:pt x="328" y="1"/>
                  </a:lnTo>
                  <a:lnTo>
                    <a:pt x="328" y="5"/>
                  </a:lnTo>
                  <a:lnTo>
                    <a:pt x="328" y="11"/>
                  </a:lnTo>
                  <a:lnTo>
                    <a:pt x="328" y="11"/>
                  </a:lnTo>
                  <a:lnTo>
                    <a:pt x="334" y="15"/>
                  </a:lnTo>
                  <a:lnTo>
                    <a:pt x="339" y="21"/>
                  </a:lnTo>
                  <a:lnTo>
                    <a:pt x="341" y="23"/>
                  </a:lnTo>
                  <a:lnTo>
                    <a:pt x="341" y="24"/>
                  </a:lnTo>
                  <a:lnTo>
                    <a:pt x="339" y="27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3" y="30"/>
                  </a:lnTo>
                  <a:lnTo>
                    <a:pt x="329" y="28"/>
                  </a:lnTo>
                  <a:lnTo>
                    <a:pt x="326" y="26"/>
                  </a:lnTo>
                  <a:lnTo>
                    <a:pt x="323" y="22"/>
                  </a:lnTo>
                  <a:lnTo>
                    <a:pt x="317" y="14"/>
                  </a:lnTo>
                  <a:lnTo>
                    <a:pt x="315" y="11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1"/>
                  </a:lnTo>
                  <a:lnTo>
                    <a:pt x="308" y="14"/>
                  </a:lnTo>
                  <a:lnTo>
                    <a:pt x="303" y="21"/>
                  </a:lnTo>
                  <a:lnTo>
                    <a:pt x="301" y="28"/>
                  </a:lnTo>
                  <a:lnTo>
                    <a:pt x="298" y="33"/>
                  </a:lnTo>
                  <a:lnTo>
                    <a:pt x="298" y="33"/>
                  </a:lnTo>
                  <a:lnTo>
                    <a:pt x="299" y="37"/>
                  </a:lnTo>
                  <a:lnTo>
                    <a:pt x="301" y="40"/>
                  </a:lnTo>
                  <a:lnTo>
                    <a:pt x="301" y="43"/>
                  </a:lnTo>
                  <a:lnTo>
                    <a:pt x="299" y="44"/>
                  </a:lnTo>
                  <a:lnTo>
                    <a:pt x="297" y="45"/>
                  </a:lnTo>
                  <a:lnTo>
                    <a:pt x="290" y="45"/>
                  </a:lnTo>
                  <a:lnTo>
                    <a:pt x="282" y="44"/>
                  </a:lnTo>
                  <a:lnTo>
                    <a:pt x="282" y="44"/>
                  </a:lnTo>
                  <a:lnTo>
                    <a:pt x="275" y="46"/>
                  </a:lnTo>
                  <a:lnTo>
                    <a:pt x="266" y="46"/>
                  </a:lnTo>
                  <a:lnTo>
                    <a:pt x="255" y="46"/>
                  </a:lnTo>
                  <a:lnTo>
                    <a:pt x="255" y="46"/>
                  </a:lnTo>
                  <a:lnTo>
                    <a:pt x="253" y="46"/>
                  </a:lnTo>
                  <a:lnTo>
                    <a:pt x="249" y="49"/>
                  </a:lnTo>
                  <a:lnTo>
                    <a:pt x="249" y="50"/>
                  </a:lnTo>
                  <a:lnTo>
                    <a:pt x="249" y="54"/>
                  </a:lnTo>
                  <a:lnTo>
                    <a:pt x="251" y="57"/>
                  </a:lnTo>
                  <a:lnTo>
                    <a:pt x="257" y="62"/>
                  </a:lnTo>
                  <a:lnTo>
                    <a:pt x="257" y="62"/>
                  </a:lnTo>
                  <a:lnTo>
                    <a:pt x="258" y="63"/>
                  </a:lnTo>
                  <a:lnTo>
                    <a:pt x="258" y="65"/>
                  </a:lnTo>
                  <a:lnTo>
                    <a:pt x="257" y="70"/>
                  </a:lnTo>
                  <a:lnTo>
                    <a:pt x="255" y="75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1" y="87"/>
                  </a:lnTo>
                  <a:lnTo>
                    <a:pt x="249" y="90"/>
                  </a:lnTo>
                  <a:lnTo>
                    <a:pt x="246" y="92"/>
                  </a:lnTo>
                  <a:lnTo>
                    <a:pt x="242" y="93"/>
                  </a:lnTo>
                  <a:lnTo>
                    <a:pt x="237" y="94"/>
                  </a:lnTo>
                  <a:lnTo>
                    <a:pt x="231" y="93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18" y="89"/>
                  </a:lnTo>
                  <a:lnTo>
                    <a:pt x="212" y="89"/>
                  </a:lnTo>
                  <a:lnTo>
                    <a:pt x="210" y="90"/>
                  </a:lnTo>
                  <a:lnTo>
                    <a:pt x="207" y="93"/>
                  </a:lnTo>
                  <a:lnTo>
                    <a:pt x="206" y="97"/>
                  </a:lnTo>
                  <a:lnTo>
                    <a:pt x="206" y="102"/>
                  </a:lnTo>
                  <a:lnTo>
                    <a:pt x="206" y="102"/>
                  </a:lnTo>
                  <a:lnTo>
                    <a:pt x="205" y="103"/>
                  </a:lnTo>
                  <a:lnTo>
                    <a:pt x="203" y="106"/>
                  </a:lnTo>
                  <a:lnTo>
                    <a:pt x="198" y="109"/>
                  </a:lnTo>
                  <a:lnTo>
                    <a:pt x="188" y="113"/>
                  </a:lnTo>
                  <a:lnTo>
                    <a:pt x="188" y="113"/>
                  </a:lnTo>
                  <a:lnTo>
                    <a:pt x="183" y="114"/>
                  </a:lnTo>
                  <a:lnTo>
                    <a:pt x="174" y="114"/>
                  </a:lnTo>
                  <a:lnTo>
                    <a:pt x="165" y="113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3" y="113"/>
                  </a:lnTo>
                  <a:lnTo>
                    <a:pt x="152" y="114"/>
                  </a:lnTo>
                  <a:lnTo>
                    <a:pt x="149" y="118"/>
                  </a:lnTo>
                  <a:lnTo>
                    <a:pt x="146" y="119"/>
                  </a:lnTo>
                  <a:lnTo>
                    <a:pt x="142" y="120"/>
                  </a:lnTo>
                  <a:lnTo>
                    <a:pt x="137" y="123"/>
                  </a:lnTo>
                  <a:lnTo>
                    <a:pt x="130" y="124"/>
                  </a:lnTo>
                  <a:lnTo>
                    <a:pt x="130" y="124"/>
                  </a:lnTo>
                  <a:lnTo>
                    <a:pt x="122" y="125"/>
                  </a:lnTo>
                  <a:lnTo>
                    <a:pt x="110" y="127"/>
                  </a:lnTo>
                  <a:lnTo>
                    <a:pt x="97" y="129"/>
                  </a:lnTo>
                  <a:lnTo>
                    <a:pt x="65" y="140"/>
                  </a:lnTo>
                  <a:lnTo>
                    <a:pt x="52" y="141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23" y="207"/>
                  </a:lnTo>
                  <a:lnTo>
                    <a:pt x="27" y="215"/>
                  </a:lnTo>
                  <a:lnTo>
                    <a:pt x="28" y="220"/>
                  </a:lnTo>
                  <a:lnTo>
                    <a:pt x="28" y="220"/>
                  </a:lnTo>
                  <a:lnTo>
                    <a:pt x="25" y="223"/>
                  </a:lnTo>
                  <a:lnTo>
                    <a:pt x="18" y="225"/>
                  </a:lnTo>
                  <a:lnTo>
                    <a:pt x="10" y="228"/>
                  </a:lnTo>
                  <a:lnTo>
                    <a:pt x="10" y="228"/>
                  </a:lnTo>
                  <a:lnTo>
                    <a:pt x="17" y="232"/>
                  </a:lnTo>
                  <a:lnTo>
                    <a:pt x="26" y="240"/>
                  </a:lnTo>
                  <a:lnTo>
                    <a:pt x="35" y="247"/>
                  </a:lnTo>
                  <a:lnTo>
                    <a:pt x="44" y="256"/>
                  </a:lnTo>
                  <a:lnTo>
                    <a:pt x="44" y="256"/>
                  </a:lnTo>
                  <a:lnTo>
                    <a:pt x="23" y="262"/>
                  </a:lnTo>
                  <a:lnTo>
                    <a:pt x="14" y="269"/>
                  </a:lnTo>
                  <a:lnTo>
                    <a:pt x="0" y="275"/>
                  </a:lnTo>
                  <a:lnTo>
                    <a:pt x="5" y="286"/>
                  </a:lnTo>
                  <a:lnTo>
                    <a:pt x="9" y="290"/>
                  </a:lnTo>
                  <a:lnTo>
                    <a:pt x="12" y="313"/>
                  </a:lnTo>
                  <a:lnTo>
                    <a:pt x="25" y="313"/>
                  </a:lnTo>
                  <a:lnTo>
                    <a:pt x="26" y="338"/>
                  </a:lnTo>
                  <a:lnTo>
                    <a:pt x="15" y="350"/>
                  </a:lnTo>
                  <a:lnTo>
                    <a:pt x="17" y="370"/>
                  </a:lnTo>
                  <a:lnTo>
                    <a:pt x="32" y="370"/>
                  </a:lnTo>
                  <a:lnTo>
                    <a:pt x="32" y="370"/>
                  </a:lnTo>
                  <a:lnTo>
                    <a:pt x="34" y="429"/>
                  </a:lnTo>
                  <a:lnTo>
                    <a:pt x="34" y="429"/>
                  </a:lnTo>
                  <a:lnTo>
                    <a:pt x="44" y="434"/>
                  </a:lnTo>
                  <a:lnTo>
                    <a:pt x="50" y="438"/>
                  </a:lnTo>
                  <a:lnTo>
                    <a:pt x="50" y="438"/>
                  </a:lnTo>
                  <a:lnTo>
                    <a:pt x="50" y="449"/>
                  </a:lnTo>
                  <a:lnTo>
                    <a:pt x="32" y="449"/>
                  </a:lnTo>
                  <a:lnTo>
                    <a:pt x="10" y="455"/>
                  </a:lnTo>
                  <a:lnTo>
                    <a:pt x="12" y="470"/>
                  </a:lnTo>
                  <a:lnTo>
                    <a:pt x="41" y="473"/>
                  </a:lnTo>
                  <a:lnTo>
                    <a:pt x="39" y="488"/>
                  </a:lnTo>
                  <a:lnTo>
                    <a:pt x="17" y="488"/>
                  </a:lnTo>
                  <a:lnTo>
                    <a:pt x="18" y="512"/>
                  </a:lnTo>
                  <a:lnTo>
                    <a:pt x="5" y="512"/>
                  </a:lnTo>
                  <a:lnTo>
                    <a:pt x="3" y="569"/>
                  </a:lnTo>
                  <a:lnTo>
                    <a:pt x="3" y="575"/>
                  </a:lnTo>
                  <a:lnTo>
                    <a:pt x="12" y="57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4" name="Freeform 192"/>
            <p:cNvSpPr>
              <a:spLocks/>
            </p:cNvSpPr>
            <p:nvPr/>
          </p:nvSpPr>
          <p:spPr bwMode="auto">
            <a:xfrm>
              <a:off x="3732214" y="2808620"/>
              <a:ext cx="3076575" cy="1660524"/>
            </a:xfrm>
            <a:custGeom>
              <a:avLst/>
              <a:gdLst>
                <a:gd name="T0" fmla="*/ 400 w 1938"/>
                <a:gd name="T1" fmla="*/ 1007 h 1046"/>
                <a:gd name="T2" fmla="*/ 226 w 1938"/>
                <a:gd name="T3" fmla="*/ 910 h 1046"/>
                <a:gd name="T4" fmla="*/ 51 w 1938"/>
                <a:gd name="T5" fmla="*/ 824 h 1046"/>
                <a:gd name="T6" fmla="*/ 138 w 1938"/>
                <a:gd name="T7" fmla="*/ 738 h 1046"/>
                <a:gd name="T8" fmla="*/ 195 w 1938"/>
                <a:gd name="T9" fmla="*/ 612 h 1046"/>
                <a:gd name="T10" fmla="*/ 250 w 1938"/>
                <a:gd name="T11" fmla="*/ 545 h 1046"/>
                <a:gd name="T12" fmla="*/ 403 w 1938"/>
                <a:gd name="T13" fmla="*/ 497 h 1046"/>
                <a:gd name="T14" fmla="*/ 486 w 1938"/>
                <a:gd name="T15" fmla="*/ 428 h 1046"/>
                <a:gd name="T16" fmla="*/ 585 w 1938"/>
                <a:gd name="T17" fmla="*/ 320 h 1046"/>
                <a:gd name="T18" fmla="*/ 631 w 1938"/>
                <a:gd name="T19" fmla="*/ 247 h 1046"/>
                <a:gd name="T20" fmla="*/ 689 w 1938"/>
                <a:gd name="T21" fmla="*/ 204 h 1046"/>
                <a:gd name="T22" fmla="*/ 672 w 1938"/>
                <a:gd name="T23" fmla="*/ 167 h 1046"/>
                <a:gd name="T24" fmla="*/ 714 w 1938"/>
                <a:gd name="T25" fmla="*/ 152 h 1046"/>
                <a:gd name="T26" fmla="*/ 775 w 1938"/>
                <a:gd name="T27" fmla="*/ 175 h 1046"/>
                <a:gd name="T28" fmla="*/ 762 w 1938"/>
                <a:gd name="T29" fmla="*/ 232 h 1046"/>
                <a:gd name="T30" fmla="*/ 824 w 1938"/>
                <a:gd name="T31" fmla="*/ 235 h 1046"/>
                <a:gd name="T32" fmla="*/ 846 w 1938"/>
                <a:gd name="T33" fmla="*/ 205 h 1046"/>
                <a:gd name="T34" fmla="*/ 882 w 1938"/>
                <a:gd name="T35" fmla="*/ 240 h 1046"/>
                <a:gd name="T36" fmla="*/ 949 w 1938"/>
                <a:gd name="T37" fmla="*/ 267 h 1046"/>
                <a:gd name="T38" fmla="*/ 1008 w 1938"/>
                <a:gd name="T39" fmla="*/ 222 h 1046"/>
                <a:gd name="T40" fmla="*/ 1048 w 1938"/>
                <a:gd name="T41" fmla="*/ 174 h 1046"/>
                <a:gd name="T42" fmla="*/ 1089 w 1938"/>
                <a:gd name="T43" fmla="*/ 125 h 1046"/>
                <a:gd name="T44" fmla="*/ 1118 w 1938"/>
                <a:gd name="T45" fmla="*/ 117 h 1046"/>
                <a:gd name="T46" fmla="*/ 1140 w 1938"/>
                <a:gd name="T47" fmla="*/ 139 h 1046"/>
                <a:gd name="T48" fmla="*/ 1130 w 1938"/>
                <a:gd name="T49" fmla="*/ 180 h 1046"/>
                <a:gd name="T50" fmla="*/ 1185 w 1938"/>
                <a:gd name="T51" fmla="*/ 160 h 1046"/>
                <a:gd name="T52" fmla="*/ 1218 w 1938"/>
                <a:gd name="T53" fmla="*/ 151 h 1046"/>
                <a:gd name="T54" fmla="*/ 1220 w 1938"/>
                <a:gd name="T55" fmla="*/ 118 h 1046"/>
                <a:gd name="T56" fmla="*/ 1280 w 1938"/>
                <a:gd name="T57" fmla="*/ 88 h 1046"/>
                <a:gd name="T58" fmla="*/ 1333 w 1938"/>
                <a:gd name="T59" fmla="*/ 47 h 1046"/>
                <a:gd name="T60" fmla="*/ 1310 w 1938"/>
                <a:gd name="T61" fmla="*/ 29 h 1046"/>
                <a:gd name="T62" fmla="*/ 1299 w 1938"/>
                <a:gd name="T63" fmla="*/ 5 h 1046"/>
                <a:gd name="T64" fmla="*/ 1334 w 1938"/>
                <a:gd name="T65" fmla="*/ 2 h 1046"/>
                <a:gd name="T66" fmla="*/ 1403 w 1938"/>
                <a:gd name="T67" fmla="*/ 85 h 1046"/>
                <a:gd name="T68" fmla="*/ 1389 w 1938"/>
                <a:gd name="T69" fmla="*/ 112 h 1046"/>
                <a:gd name="T70" fmla="*/ 1447 w 1938"/>
                <a:gd name="T71" fmla="*/ 121 h 1046"/>
                <a:gd name="T72" fmla="*/ 1490 w 1938"/>
                <a:gd name="T73" fmla="*/ 139 h 1046"/>
                <a:gd name="T74" fmla="*/ 1526 w 1938"/>
                <a:gd name="T75" fmla="*/ 165 h 1046"/>
                <a:gd name="T76" fmla="*/ 1525 w 1938"/>
                <a:gd name="T77" fmla="*/ 199 h 1046"/>
                <a:gd name="T78" fmla="*/ 1560 w 1938"/>
                <a:gd name="T79" fmla="*/ 209 h 1046"/>
                <a:gd name="T80" fmla="*/ 1626 w 1938"/>
                <a:gd name="T81" fmla="*/ 182 h 1046"/>
                <a:gd name="T82" fmla="*/ 1679 w 1938"/>
                <a:gd name="T83" fmla="*/ 175 h 1046"/>
                <a:gd name="T84" fmla="*/ 1730 w 1938"/>
                <a:gd name="T85" fmla="*/ 156 h 1046"/>
                <a:gd name="T86" fmla="*/ 1743 w 1938"/>
                <a:gd name="T87" fmla="*/ 92 h 1046"/>
                <a:gd name="T88" fmla="*/ 1787 w 1938"/>
                <a:gd name="T89" fmla="*/ 87 h 1046"/>
                <a:gd name="T90" fmla="*/ 1849 w 1938"/>
                <a:gd name="T91" fmla="*/ 127 h 1046"/>
                <a:gd name="T92" fmla="*/ 1832 w 1938"/>
                <a:gd name="T93" fmla="*/ 193 h 1046"/>
                <a:gd name="T94" fmla="*/ 1805 w 1938"/>
                <a:gd name="T95" fmla="*/ 252 h 1046"/>
                <a:gd name="T96" fmla="*/ 1763 w 1938"/>
                <a:gd name="T97" fmla="*/ 293 h 1046"/>
                <a:gd name="T98" fmla="*/ 1775 w 1938"/>
                <a:gd name="T99" fmla="*/ 349 h 1046"/>
                <a:gd name="T100" fmla="*/ 1803 w 1938"/>
                <a:gd name="T101" fmla="*/ 386 h 1046"/>
                <a:gd name="T102" fmla="*/ 1846 w 1938"/>
                <a:gd name="T103" fmla="*/ 416 h 1046"/>
                <a:gd name="T104" fmla="*/ 1803 w 1938"/>
                <a:gd name="T105" fmla="*/ 507 h 1046"/>
                <a:gd name="T106" fmla="*/ 1835 w 1938"/>
                <a:gd name="T107" fmla="*/ 534 h 1046"/>
                <a:gd name="T108" fmla="*/ 1871 w 1938"/>
                <a:gd name="T109" fmla="*/ 563 h 1046"/>
                <a:gd name="T110" fmla="*/ 1837 w 1938"/>
                <a:gd name="T111" fmla="*/ 643 h 1046"/>
                <a:gd name="T112" fmla="*/ 1824 w 1938"/>
                <a:gd name="T113" fmla="*/ 726 h 1046"/>
                <a:gd name="T114" fmla="*/ 1881 w 1938"/>
                <a:gd name="T115" fmla="*/ 732 h 1046"/>
                <a:gd name="T116" fmla="*/ 1776 w 1938"/>
                <a:gd name="T117" fmla="*/ 847 h 1046"/>
                <a:gd name="T118" fmla="*/ 1135 w 1938"/>
                <a:gd name="T119" fmla="*/ 1029 h 10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38" h="1046">
                  <a:moveTo>
                    <a:pt x="581" y="1045"/>
                  </a:moveTo>
                  <a:lnTo>
                    <a:pt x="581" y="1045"/>
                  </a:lnTo>
                  <a:lnTo>
                    <a:pt x="579" y="1031"/>
                  </a:lnTo>
                  <a:lnTo>
                    <a:pt x="578" y="1024"/>
                  </a:lnTo>
                  <a:lnTo>
                    <a:pt x="574" y="1018"/>
                  </a:lnTo>
                  <a:lnTo>
                    <a:pt x="574" y="1018"/>
                  </a:lnTo>
                  <a:lnTo>
                    <a:pt x="570" y="1016"/>
                  </a:lnTo>
                  <a:lnTo>
                    <a:pt x="557" y="1014"/>
                  </a:lnTo>
                  <a:lnTo>
                    <a:pt x="537" y="1014"/>
                  </a:lnTo>
                  <a:lnTo>
                    <a:pt x="526" y="1015"/>
                  </a:lnTo>
                  <a:lnTo>
                    <a:pt x="513" y="1016"/>
                  </a:lnTo>
                  <a:lnTo>
                    <a:pt x="416" y="1011"/>
                  </a:lnTo>
                  <a:lnTo>
                    <a:pt x="416" y="1011"/>
                  </a:lnTo>
                  <a:lnTo>
                    <a:pt x="400" y="1007"/>
                  </a:lnTo>
                  <a:lnTo>
                    <a:pt x="387" y="1005"/>
                  </a:lnTo>
                  <a:lnTo>
                    <a:pt x="373" y="1005"/>
                  </a:lnTo>
                  <a:lnTo>
                    <a:pt x="373" y="1005"/>
                  </a:lnTo>
                  <a:lnTo>
                    <a:pt x="370" y="1001"/>
                  </a:lnTo>
                  <a:lnTo>
                    <a:pt x="370" y="1001"/>
                  </a:lnTo>
                  <a:lnTo>
                    <a:pt x="359" y="994"/>
                  </a:lnTo>
                  <a:lnTo>
                    <a:pt x="348" y="986"/>
                  </a:lnTo>
                  <a:lnTo>
                    <a:pt x="334" y="974"/>
                  </a:lnTo>
                  <a:lnTo>
                    <a:pt x="317" y="954"/>
                  </a:lnTo>
                  <a:lnTo>
                    <a:pt x="317" y="954"/>
                  </a:lnTo>
                  <a:lnTo>
                    <a:pt x="303" y="950"/>
                  </a:lnTo>
                  <a:lnTo>
                    <a:pt x="289" y="946"/>
                  </a:lnTo>
                  <a:lnTo>
                    <a:pt x="226" y="910"/>
                  </a:lnTo>
                  <a:lnTo>
                    <a:pt x="226" y="910"/>
                  </a:lnTo>
                  <a:lnTo>
                    <a:pt x="194" y="898"/>
                  </a:lnTo>
                  <a:lnTo>
                    <a:pt x="167" y="887"/>
                  </a:lnTo>
                  <a:lnTo>
                    <a:pt x="154" y="880"/>
                  </a:lnTo>
                  <a:lnTo>
                    <a:pt x="143" y="874"/>
                  </a:lnTo>
                  <a:lnTo>
                    <a:pt x="143" y="874"/>
                  </a:lnTo>
                  <a:lnTo>
                    <a:pt x="140" y="876"/>
                  </a:lnTo>
                  <a:lnTo>
                    <a:pt x="138" y="878"/>
                  </a:lnTo>
                  <a:lnTo>
                    <a:pt x="137" y="878"/>
                  </a:lnTo>
                  <a:lnTo>
                    <a:pt x="137" y="878"/>
                  </a:lnTo>
                  <a:lnTo>
                    <a:pt x="121" y="869"/>
                  </a:lnTo>
                  <a:lnTo>
                    <a:pt x="105" y="859"/>
                  </a:lnTo>
                  <a:lnTo>
                    <a:pt x="80" y="850"/>
                  </a:lnTo>
                  <a:lnTo>
                    <a:pt x="51" y="824"/>
                  </a:lnTo>
                  <a:lnTo>
                    <a:pt x="51" y="824"/>
                  </a:lnTo>
                  <a:lnTo>
                    <a:pt x="26" y="830"/>
                  </a:lnTo>
                  <a:lnTo>
                    <a:pt x="0" y="834"/>
                  </a:lnTo>
                  <a:lnTo>
                    <a:pt x="0" y="834"/>
                  </a:lnTo>
                  <a:lnTo>
                    <a:pt x="4" y="830"/>
                  </a:lnTo>
                  <a:lnTo>
                    <a:pt x="11" y="823"/>
                  </a:lnTo>
                  <a:lnTo>
                    <a:pt x="29" y="810"/>
                  </a:lnTo>
                  <a:lnTo>
                    <a:pt x="29" y="810"/>
                  </a:lnTo>
                  <a:lnTo>
                    <a:pt x="35" y="806"/>
                  </a:lnTo>
                  <a:lnTo>
                    <a:pt x="35" y="806"/>
                  </a:lnTo>
                  <a:lnTo>
                    <a:pt x="45" y="796"/>
                  </a:lnTo>
                  <a:lnTo>
                    <a:pt x="58" y="787"/>
                  </a:lnTo>
                  <a:lnTo>
                    <a:pt x="84" y="770"/>
                  </a:lnTo>
                  <a:lnTo>
                    <a:pt x="138" y="738"/>
                  </a:lnTo>
                  <a:lnTo>
                    <a:pt x="138" y="738"/>
                  </a:lnTo>
                  <a:lnTo>
                    <a:pt x="158" y="726"/>
                  </a:lnTo>
                  <a:lnTo>
                    <a:pt x="171" y="718"/>
                  </a:lnTo>
                  <a:lnTo>
                    <a:pt x="178" y="713"/>
                  </a:lnTo>
                  <a:lnTo>
                    <a:pt x="186" y="705"/>
                  </a:lnTo>
                  <a:lnTo>
                    <a:pt x="208" y="679"/>
                  </a:lnTo>
                  <a:lnTo>
                    <a:pt x="208" y="679"/>
                  </a:lnTo>
                  <a:lnTo>
                    <a:pt x="207" y="677"/>
                  </a:lnTo>
                  <a:lnTo>
                    <a:pt x="202" y="670"/>
                  </a:lnTo>
                  <a:lnTo>
                    <a:pt x="194" y="659"/>
                  </a:lnTo>
                  <a:lnTo>
                    <a:pt x="189" y="650"/>
                  </a:lnTo>
                  <a:lnTo>
                    <a:pt x="185" y="639"/>
                  </a:lnTo>
                  <a:lnTo>
                    <a:pt x="180" y="625"/>
                  </a:lnTo>
                  <a:lnTo>
                    <a:pt x="180" y="625"/>
                  </a:lnTo>
                  <a:lnTo>
                    <a:pt x="195" y="612"/>
                  </a:lnTo>
                  <a:lnTo>
                    <a:pt x="215" y="595"/>
                  </a:lnTo>
                  <a:lnTo>
                    <a:pt x="215" y="595"/>
                  </a:lnTo>
                  <a:lnTo>
                    <a:pt x="212" y="581"/>
                  </a:lnTo>
                  <a:lnTo>
                    <a:pt x="210" y="572"/>
                  </a:lnTo>
                  <a:lnTo>
                    <a:pt x="210" y="572"/>
                  </a:lnTo>
                  <a:lnTo>
                    <a:pt x="234" y="568"/>
                  </a:lnTo>
                  <a:lnTo>
                    <a:pt x="246" y="565"/>
                  </a:lnTo>
                  <a:lnTo>
                    <a:pt x="252" y="563"/>
                  </a:lnTo>
                  <a:lnTo>
                    <a:pt x="252" y="563"/>
                  </a:lnTo>
                  <a:lnTo>
                    <a:pt x="243" y="555"/>
                  </a:lnTo>
                  <a:lnTo>
                    <a:pt x="243" y="555"/>
                  </a:lnTo>
                  <a:lnTo>
                    <a:pt x="246" y="550"/>
                  </a:lnTo>
                  <a:lnTo>
                    <a:pt x="250" y="545"/>
                  </a:lnTo>
                  <a:lnTo>
                    <a:pt x="250" y="545"/>
                  </a:lnTo>
                  <a:lnTo>
                    <a:pt x="245" y="538"/>
                  </a:lnTo>
                  <a:lnTo>
                    <a:pt x="241" y="532"/>
                  </a:lnTo>
                  <a:lnTo>
                    <a:pt x="270" y="533"/>
                  </a:lnTo>
                  <a:lnTo>
                    <a:pt x="270" y="533"/>
                  </a:lnTo>
                  <a:lnTo>
                    <a:pt x="273" y="508"/>
                  </a:lnTo>
                  <a:lnTo>
                    <a:pt x="278" y="484"/>
                  </a:lnTo>
                  <a:lnTo>
                    <a:pt x="278" y="484"/>
                  </a:lnTo>
                  <a:lnTo>
                    <a:pt x="322" y="495"/>
                  </a:lnTo>
                  <a:lnTo>
                    <a:pt x="368" y="506"/>
                  </a:lnTo>
                  <a:lnTo>
                    <a:pt x="368" y="506"/>
                  </a:lnTo>
                  <a:lnTo>
                    <a:pt x="377" y="504"/>
                  </a:lnTo>
                  <a:lnTo>
                    <a:pt x="382" y="501"/>
                  </a:lnTo>
                  <a:lnTo>
                    <a:pt x="390" y="498"/>
                  </a:lnTo>
                  <a:lnTo>
                    <a:pt x="403" y="497"/>
                  </a:lnTo>
                  <a:lnTo>
                    <a:pt x="403" y="497"/>
                  </a:lnTo>
                  <a:lnTo>
                    <a:pt x="405" y="485"/>
                  </a:lnTo>
                  <a:lnTo>
                    <a:pt x="405" y="480"/>
                  </a:lnTo>
                  <a:lnTo>
                    <a:pt x="407" y="477"/>
                  </a:lnTo>
                  <a:lnTo>
                    <a:pt x="407" y="477"/>
                  </a:lnTo>
                  <a:lnTo>
                    <a:pt x="409" y="476"/>
                  </a:lnTo>
                  <a:lnTo>
                    <a:pt x="413" y="476"/>
                  </a:lnTo>
                  <a:lnTo>
                    <a:pt x="423" y="476"/>
                  </a:lnTo>
                  <a:lnTo>
                    <a:pt x="442" y="476"/>
                  </a:lnTo>
                  <a:lnTo>
                    <a:pt x="442" y="476"/>
                  </a:lnTo>
                  <a:lnTo>
                    <a:pt x="452" y="467"/>
                  </a:lnTo>
                  <a:lnTo>
                    <a:pt x="466" y="451"/>
                  </a:lnTo>
                  <a:lnTo>
                    <a:pt x="486" y="428"/>
                  </a:lnTo>
                  <a:lnTo>
                    <a:pt x="486" y="428"/>
                  </a:lnTo>
                  <a:lnTo>
                    <a:pt x="500" y="424"/>
                  </a:lnTo>
                  <a:lnTo>
                    <a:pt x="500" y="424"/>
                  </a:lnTo>
                  <a:lnTo>
                    <a:pt x="504" y="419"/>
                  </a:lnTo>
                  <a:lnTo>
                    <a:pt x="509" y="410"/>
                  </a:lnTo>
                  <a:lnTo>
                    <a:pt x="513" y="399"/>
                  </a:lnTo>
                  <a:lnTo>
                    <a:pt x="515" y="392"/>
                  </a:lnTo>
                  <a:lnTo>
                    <a:pt x="515" y="392"/>
                  </a:lnTo>
                  <a:lnTo>
                    <a:pt x="528" y="376"/>
                  </a:lnTo>
                  <a:lnTo>
                    <a:pt x="539" y="366"/>
                  </a:lnTo>
                  <a:lnTo>
                    <a:pt x="548" y="359"/>
                  </a:lnTo>
                  <a:lnTo>
                    <a:pt x="561" y="353"/>
                  </a:lnTo>
                  <a:lnTo>
                    <a:pt x="561" y="353"/>
                  </a:lnTo>
                  <a:lnTo>
                    <a:pt x="574" y="339"/>
                  </a:lnTo>
                  <a:lnTo>
                    <a:pt x="585" y="320"/>
                  </a:lnTo>
                  <a:lnTo>
                    <a:pt x="604" y="294"/>
                  </a:lnTo>
                  <a:lnTo>
                    <a:pt x="604" y="294"/>
                  </a:lnTo>
                  <a:lnTo>
                    <a:pt x="609" y="298"/>
                  </a:lnTo>
                  <a:lnTo>
                    <a:pt x="609" y="298"/>
                  </a:lnTo>
                  <a:lnTo>
                    <a:pt x="622" y="280"/>
                  </a:lnTo>
                  <a:lnTo>
                    <a:pt x="636" y="261"/>
                  </a:lnTo>
                  <a:lnTo>
                    <a:pt x="636" y="261"/>
                  </a:lnTo>
                  <a:lnTo>
                    <a:pt x="632" y="261"/>
                  </a:lnTo>
                  <a:lnTo>
                    <a:pt x="631" y="259"/>
                  </a:lnTo>
                  <a:lnTo>
                    <a:pt x="629" y="256"/>
                  </a:lnTo>
                  <a:lnTo>
                    <a:pt x="629" y="256"/>
                  </a:lnTo>
                  <a:lnTo>
                    <a:pt x="629" y="253"/>
                  </a:lnTo>
                  <a:lnTo>
                    <a:pt x="629" y="250"/>
                  </a:lnTo>
                  <a:lnTo>
                    <a:pt x="631" y="247"/>
                  </a:lnTo>
                  <a:lnTo>
                    <a:pt x="631" y="247"/>
                  </a:lnTo>
                  <a:lnTo>
                    <a:pt x="629" y="243"/>
                  </a:lnTo>
                  <a:lnTo>
                    <a:pt x="629" y="241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42" y="239"/>
                  </a:lnTo>
                  <a:lnTo>
                    <a:pt x="648" y="237"/>
                  </a:lnTo>
                  <a:lnTo>
                    <a:pt x="655" y="234"/>
                  </a:lnTo>
                  <a:lnTo>
                    <a:pt x="668" y="227"/>
                  </a:lnTo>
                  <a:lnTo>
                    <a:pt x="668" y="227"/>
                  </a:lnTo>
                  <a:lnTo>
                    <a:pt x="677" y="219"/>
                  </a:lnTo>
                  <a:lnTo>
                    <a:pt x="684" y="213"/>
                  </a:lnTo>
                  <a:lnTo>
                    <a:pt x="686" y="208"/>
                  </a:lnTo>
                  <a:lnTo>
                    <a:pt x="689" y="204"/>
                  </a:lnTo>
                  <a:lnTo>
                    <a:pt x="689" y="204"/>
                  </a:lnTo>
                  <a:lnTo>
                    <a:pt x="692" y="200"/>
                  </a:lnTo>
                  <a:lnTo>
                    <a:pt x="692" y="196"/>
                  </a:lnTo>
                  <a:lnTo>
                    <a:pt x="690" y="195"/>
                  </a:lnTo>
                  <a:lnTo>
                    <a:pt x="688" y="193"/>
                  </a:lnTo>
                  <a:lnTo>
                    <a:pt x="688" y="193"/>
                  </a:lnTo>
                  <a:lnTo>
                    <a:pt x="684" y="189"/>
                  </a:lnTo>
                  <a:lnTo>
                    <a:pt x="683" y="187"/>
                  </a:lnTo>
                  <a:lnTo>
                    <a:pt x="681" y="184"/>
                  </a:lnTo>
                  <a:lnTo>
                    <a:pt x="679" y="182"/>
                  </a:lnTo>
                  <a:lnTo>
                    <a:pt x="679" y="182"/>
                  </a:lnTo>
                  <a:lnTo>
                    <a:pt x="675" y="180"/>
                  </a:lnTo>
                  <a:lnTo>
                    <a:pt x="673" y="178"/>
                  </a:lnTo>
                  <a:lnTo>
                    <a:pt x="672" y="167"/>
                  </a:lnTo>
                  <a:lnTo>
                    <a:pt x="667" y="158"/>
                  </a:lnTo>
                  <a:lnTo>
                    <a:pt x="684" y="157"/>
                  </a:lnTo>
                  <a:lnTo>
                    <a:pt x="684" y="157"/>
                  </a:lnTo>
                  <a:lnTo>
                    <a:pt x="690" y="164"/>
                  </a:lnTo>
                  <a:lnTo>
                    <a:pt x="693" y="165"/>
                  </a:lnTo>
                  <a:lnTo>
                    <a:pt x="694" y="165"/>
                  </a:lnTo>
                  <a:lnTo>
                    <a:pt x="694" y="165"/>
                  </a:lnTo>
                  <a:lnTo>
                    <a:pt x="698" y="165"/>
                  </a:lnTo>
                  <a:lnTo>
                    <a:pt x="701" y="162"/>
                  </a:lnTo>
                  <a:lnTo>
                    <a:pt x="705" y="160"/>
                  </a:lnTo>
                  <a:lnTo>
                    <a:pt x="705" y="160"/>
                  </a:lnTo>
                  <a:lnTo>
                    <a:pt x="707" y="158"/>
                  </a:lnTo>
                  <a:lnTo>
                    <a:pt x="710" y="157"/>
                  </a:lnTo>
                  <a:lnTo>
                    <a:pt x="714" y="152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27" y="140"/>
                  </a:lnTo>
                  <a:lnTo>
                    <a:pt x="732" y="136"/>
                  </a:lnTo>
                  <a:lnTo>
                    <a:pt x="738" y="132"/>
                  </a:lnTo>
                  <a:lnTo>
                    <a:pt x="738" y="132"/>
                  </a:lnTo>
                  <a:lnTo>
                    <a:pt x="743" y="130"/>
                  </a:lnTo>
                  <a:lnTo>
                    <a:pt x="750" y="130"/>
                  </a:lnTo>
                  <a:lnTo>
                    <a:pt x="763" y="129"/>
                  </a:lnTo>
                  <a:lnTo>
                    <a:pt x="777" y="130"/>
                  </a:lnTo>
                  <a:lnTo>
                    <a:pt x="777" y="130"/>
                  </a:lnTo>
                  <a:lnTo>
                    <a:pt x="780" y="173"/>
                  </a:lnTo>
                  <a:lnTo>
                    <a:pt x="780" y="173"/>
                  </a:lnTo>
                  <a:lnTo>
                    <a:pt x="775" y="175"/>
                  </a:lnTo>
                  <a:lnTo>
                    <a:pt x="772" y="179"/>
                  </a:lnTo>
                  <a:lnTo>
                    <a:pt x="771" y="183"/>
                  </a:lnTo>
                  <a:lnTo>
                    <a:pt x="771" y="183"/>
                  </a:lnTo>
                  <a:lnTo>
                    <a:pt x="771" y="199"/>
                  </a:lnTo>
                  <a:lnTo>
                    <a:pt x="771" y="199"/>
                  </a:lnTo>
                  <a:lnTo>
                    <a:pt x="769" y="204"/>
                  </a:lnTo>
                  <a:lnTo>
                    <a:pt x="768" y="209"/>
                  </a:lnTo>
                  <a:lnTo>
                    <a:pt x="767" y="217"/>
                  </a:lnTo>
                  <a:lnTo>
                    <a:pt x="767" y="217"/>
                  </a:lnTo>
                  <a:lnTo>
                    <a:pt x="767" y="223"/>
                  </a:lnTo>
                  <a:lnTo>
                    <a:pt x="765" y="227"/>
                  </a:lnTo>
                  <a:lnTo>
                    <a:pt x="764" y="230"/>
                  </a:lnTo>
                  <a:lnTo>
                    <a:pt x="762" y="232"/>
                  </a:lnTo>
                  <a:lnTo>
                    <a:pt x="762" y="232"/>
                  </a:lnTo>
                  <a:lnTo>
                    <a:pt x="765" y="236"/>
                  </a:lnTo>
                  <a:lnTo>
                    <a:pt x="773" y="240"/>
                  </a:lnTo>
                  <a:lnTo>
                    <a:pt x="784" y="244"/>
                  </a:lnTo>
                  <a:lnTo>
                    <a:pt x="798" y="247"/>
                  </a:lnTo>
                  <a:lnTo>
                    <a:pt x="798" y="247"/>
                  </a:lnTo>
                  <a:lnTo>
                    <a:pt x="807" y="247"/>
                  </a:lnTo>
                  <a:lnTo>
                    <a:pt x="812" y="245"/>
                  </a:lnTo>
                  <a:lnTo>
                    <a:pt x="812" y="245"/>
                  </a:lnTo>
                  <a:lnTo>
                    <a:pt x="811" y="244"/>
                  </a:lnTo>
                  <a:lnTo>
                    <a:pt x="812" y="241"/>
                  </a:lnTo>
                  <a:lnTo>
                    <a:pt x="815" y="239"/>
                  </a:lnTo>
                  <a:lnTo>
                    <a:pt x="821" y="234"/>
                  </a:lnTo>
                  <a:lnTo>
                    <a:pt x="821" y="234"/>
                  </a:lnTo>
                  <a:lnTo>
                    <a:pt x="824" y="235"/>
                  </a:lnTo>
                  <a:lnTo>
                    <a:pt x="828" y="236"/>
                  </a:lnTo>
                  <a:lnTo>
                    <a:pt x="830" y="236"/>
                  </a:lnTo>
                  <a:lnTo>
                    <a:pt x="833" y="235"/>
                  </a:lnTo>
                  <a:lnTo>
                    <a:pt x="837" y="232"/>
                  </a:lnTo>
                  <a:lnTo>
                    <a:pt x="839" y="231"/>
                  </a:lnTo>
                  <a:lnTo>
                    <a:pt x="839" y="231"/>
                  </a:lnTo>
                  <a:lnTo>
                    <a:pt x="834" y="223"/>
                  </a:lnTo>
                  <a:lnTo>
                    <a:pt x="833" y="218"/>
                  </a:lnTo>
                  <a:lnTo>
                    <a:pt x="833" y="212"/>
                  </a:lnTo>
                  <a:lnTo>
                    <a:pt x="833" y="212"/>
                  </a:lnTo>
                  <a:lnTo>
                    <a:pt x="837" y="209"/>
                  </a:lnTo>
                  <a:lnTo>
                    <a:pt x="841" y="206"/>
                  </a:lnTo>
                  <a:lnTo>
                    <a:pt x="845" y="205"/>
                  </a:lnTo>
                  <a:lnTo>
                    <a:pt x="846" y="205"/>
                  </a:lnTo>
                  <a:lnTo>
                    <a:pt x="846" y="204"/>
                  </a:lnTo>
                  <a:lnTo>
                    <a:pt x="846" y="204"/>
                  </a:lnTo>
                  <a:lnTo>
                    <a:pt x="847" y="204"/>
                  </a:lnTo>
                  <a:lnTo>
                    <a:pt x="848" y="206"/>
                  </a:lnTo>
                  <a:lnTo>
                    <a:pt x="852" y="212"/>
                  </a:lnTo>
                  <a:lnTo>
                    <a:pt x="856" y="215"/>
                  </a:lnTo>
                  <a:lnTo>
                    <a:pt x="860" y="218"/>
                  </a:lnTo>
                  <a:lnTo>
                    <a:pt x="867" y="222"/>
                  </a:lnTo>
                  <a:lnTo>
                    <a:pt x="874" y="224"/>
                  </a:lnTo>
                  <a:lnTo>
                    <a:pt x="874" y="224"/>
                  </a:lnTo>
                  <a:lnTo>
                    <a:pt x="876" y="230"/>
                  </a:lnTo>
                  <a:lnTo>
                    <a:pt x="878" y="235"/>
                  </a:lnTo>
                  <a:lnTo>
                    <a:pt x="882" y="240"/>
                  </a:lnTo>
                  <a:lnTo>
                    <a:pt x="882" y="240"/>
                  </a:lnTo>
                  <a:lnTo>
                    <a:pt x="898" y="237"/>
                  </a:lnTo>
                  <a:lnTo>
                    <a:pt x="915" y="234"/>
                  </a:lnTo>
                  <a:lnTo>
                    <a:pt x="933" y="228"/>
                  </a:lnTo>
                  <a:lnTo>
                    <a:pt x="947" y="236"/>
                  </a:lnTo>
                  <a:lnTo>
                    <a:pt x="947" y="236"/>
                  </a:lnTo>
                  <a:lnTo>
                    <a:pt x="942" y="247"/>
                  </a:lnTo>
                  <a:lnTo>
                    <a:pt x="940" y="256"/>
                  </a:lnTo>
                  <a:lnTo>
                    <a:pt x="940" y="262"/>
                  </a:lnTo>
                  <a:lnTo>
                    <a:pt x="940" y="266"/>
                  </a:lnTo>
                  <a:lnTo>
                    <a:pt x="940" y="266"/>
                  </a:lnTo>
                  <a:lnTo>
                    <a:pt x="943" y="267"/>
                  </a:lnTo>
                  <a:lnTo>
                    <a:pt x="946" y="269"/>
                  </a:lnTo>
                  <a:lnTo>
                    <a:pt x="949" y="267"/>
                  </a:lnTo>
                  <a:lnTo>
                    <a:pt x="949" y="267"/>
                  </a:lnTo>
                  <a:lnTo>
                    <a:pt x="973" y="257"/>
                  </a:lnTo>
                  <a:lnTo>
                    <a:pt x="973" y="257"/>
                  </a:lnTo>
                  <a:lnTo>
                    <a:pt x="987" y="249"/>
                  </a:lnTo>
                  <a:lnTo>
                    <a:pt x="990" y="247"/>
                  </a:lnTo>
                  <a:lnTo>
                    <a:pt x="991" y="245"/>
                  </a:lnTo>
                  <a:lnTo>
                    <a:pt x="991" y="245"/>
                  </a:lnTo>
                  <a:lnTo>
                    <a:pt x="987" y="237"/>
                  </a:lnTo>
                  <a:lnTo>
                    <a:pt x="982" y="230"/>
                  </a:lnTo>
                  <a:lnTo>
                    <a:pt x="982" y="230"/>
                  </a:lnTo>
                  <a:lnTo>
                    <a:pt x="986" y="227"/>
                  </a:lnTo>
                  <a:lnTo>
                    <a:pt x="994" y="223"/>
                  </a:lnTo>
                  <a:lnTo>
                    <a:pt x="1004" y="218"/>
                  </a:lnTo>
                  <a:lnTo>
                    <a:pt x="1004" y="218"/>
                  </a:lnTo>
                  <a:lnTo>
                    <a:pt x="1008" y="222"/>
                  </a:lnTo>
                  <a:lnTo>
                    <a:pt x="1012" y="224"/>
                  </a:lnTo>
                  <a:lnTo>
                    <a:pt x="1013" y="226"/>
                  </a:lnTo>
                  <a:lnTo>
                    <a:pt x="1013" y="226"/>
                  </a:lnTo>
                  <a:lnTo>
                    <a:pt x="1014" y="221"/>
                  </a:lnTo>
                  <a:lnTo>
                    <a:pt x="1016" y="208"/>
                  </a:lnTo>
                  <a:lnTo>
                    <a:pt x="1017" y="189"/>
                  </a:lnTo>
                  <a:lnTo>
                    <a:pt x="1017" y="189"/>
                  </a:lnTo>
                  <a:lnTo>
                    <a:pt x="1021" y="187"/>
                  </a:lnTo>
                  <a:lnTo>
                    <a:pt x="1023" y="184"/>
                  </a:lnTo>
                  <a:lnTo>
                    <a:pt x="1026" y="180"/>
                  </a:lnTo>
                  <a:lnTo>
                    <a:pt x="1026" y="180"/>
                  </a:lnTo>
                  <a:lnTo>
                    <a:pt x="1036" y="180"/>
                  </a:lnTo>
                  <a:lnTo>
                    <a:pt x="1042" y="179"/>
                  </a:lnTo>
                  <a:lnTo>
                    <a:pt x="1048" y="174"/>
                  </a:lnTo>
                  <a:lnTo>
                    <a:pt x="1048" y="174"/>
                  </a:lnTo>
                  <a:lnTo>
                    <a:pt x="1048" y="173"/>
                  </a:lnTo>
                  <a:lnTo>
                    <a:pt x="1048" y="169"/>
                  </a:lnTo>
                  <a:lnTo>
                    <a:pt x="1048" y="165"/>
                  </a:lnTo>
                  <a:lnTo>
                    <a:pt x="1058" y="153"/>
                  </a:lnTo>
                  <a:lnTo>
                    <a:pt x="1069" y="153"/>
                  </a:lnTo>
                  <a:lnTo>
                    <a:pt x="1069" y="145"/>
                  </a:lnTo>
                  <a:lnTo>
                    <a:pt x="1082" y="144"/>
                  </a:lnTo>
                  <a:lnTo>
                    <a:pt x="1082" y="144"/>
                  </a:lnTo>
                  <a:lnTo>
                    <a:pt x="1082" y="132"/>
                  </a:lnTo>
                  <a:lnTo>
                    <a:pt x="1083" y="130"/>
                  </a:lnTo>
                  <a:lnTo>
                    <a:pt x="1084" y="127"/>
                  </a:lnTo>
                  <a:lnTo>
                    <a:pt x="1087" y="126"/>
                  </a:lnTo>
                  <a:lnTo>
                    <a:pt x="1089" y="125"/>
                  </a:lnTo>
                  <a:lnTo>
                    <a:pt x="1096" y="125"/>
                  </a:lnTo>
                  <a:lnTo>
                    <a:pt x="1096" y="125"/>
                  </a:lnTo>
                  <a:lnTo>
                    <a:pt x="1099" y="122"/>
                  </a:lnTo>
                  <a:lnTo>
                    <a:pt x="1101" y="120"/>
                  </a:lnTo>
                  <a:lnTo>
                    <a:pt x="1104" y="118"/>
                  </a:lnTo>
                  <a:lnTo>
                    <a:pt x="1105" y="117"/>
                  </a:lnTo>
                  <a:lnTo>
                    <a:pt x="1105" y="117"/>
                  </a:lnTo>
                  <a:lnTo>
                    <a:pt x="1106" y="120"/>
                  </a:lnTo>
                  <a:lnTo>
                    <a:pt x="1108" y="120"/>
                  </a:lnTo>
                  <a:lnTo>
                    <a:pt x="1111" y="118"/>
                  </a:lnTo>
                  <a:lnTo>
                    <a:pt x="1114" y="117"/>
                  </a:lnTo>
                  <a:lnTo>
                    <a:pt x="1117" y="117"/>
                  </a:lnTo>
                  <a:lnTo>
                    <a:pt x="1118" y="117"/>
                  </a:lnTo>
                  <a:lnTo>
                    <a:pt x="1118" y="117"/>
                  </a:lnTo>
                  <a:lnTo>
                    <a:pt x="1119" y="122"/>
                  </a:lnTo>
                  <a:lnTo>
                    <a:pt x="1122" y="122"/>
                  </a:lnTo>
                  <a:lnTo>
                    <a:pt x="1130" y="122"/>
                  </a:lnTo>
                  <a:lnTo>
                    <a:pt x="1130" y="122"/>
                  </a:lnTo>
                  <a:lnTo>
                    <a:pt x="1132" y="129"/>
                  </a:lnTo>
                  <a:lnTo>
                    <a:pt x="1136" y="132"/>
                  </a:lnTo>
                  <a:lnTo>
                    <a:pt x="1139" y="132"/>
                  </a:lnTo>
                  <a:lnTo>
                    <a:pt x="1140" y="131"/>
                  </a:lnTo>
                  <a:lnTo>
                    <a:pt x="1140" y="131"/>
                  </a:lnTo>
                  <a:lnTo>
                    <a:pt x="1141" y="131"/>
                  </a:lnTo>
                  <a:lnTo>
                    <a:pt x="1141" y="134"/>
                  </a:lnTo>
                  <a:lnTo>
                    <a:pt x="1140" y="136"/>
                  </a:lnTo>
                  <a:lnTo>
                    <a:pt x="1140" y="139"/>
                  </a:lnTo>
                  <a:lnTo>
                    <a:pt x="1140" y="139"/>
                  </a:lnTo>
                  <a:lnTo>
                    <a:pt x="1137" y="140"/>
                  </a:lnTo>
                  <a:lnTo>
                    <a:pt x="1136" y="143"/>
                  </a:lnTo>
                  <a:lnTo>
                    <a:pt x="1136" y="144"/>
                  </a:lnTo>
                  <a:lnTo>
                    <a:pt x="1136" y="147"/>
                  </a:lnTo>
                  <a:lnTo>
                    <a:pt x="1139" y="149"/>
                  </a:lnTo>
                  <a:lnTo>
                    <a:pt x="1140" y="152"/>
                  </a:lnTo>
                  <a:lnTo>
                    <a:pt x="1140" y="152"/>
                  </a:lnTo>
                  <a:lnTo>
                    <a:pt x="1140" y="155"/>
                  </a:lnTo>
                  <a:lnTo>
                    <a:pt x="1139" y="157"/>
                  </a:lnTo>
                  <a:lnTo>
                    <a:pt x="1137" y="161"/>
                  </a:lnTo>
                  <a:lnTo>
                    <a:pt x="1137" y="173"/>
                  </a:lnTo>
                  <a:lnTo>
                    <a:pt x="1137" y="173"/>
                  </a:lnTo>
                  <a:lnTo>
                    <a:pt x="1132" y="178"/>
                  </a:lnTo>
                  <a:lnTo>
                    <a:pt x="1130" y="180"/>
                  </a:lnTo>
                  <a:lnTo>
                    <a:pt x="1130" y="183"/>
                  </a:lnTo>
                  <a:lnTo>
                    <a:pt x="1130" y="183"/>
                  </a:lnTo>
                  <a:lnTo>
                    <a:pt x="1132" y="184"/>
                  </a:lnTo>
                  <a:lnTo>
                    <a:pt x="1136" y="184"/>
                  </a:lnTo>
                  <a:lnTo>
                    <a:pt x="1141" y="184"/>
                  </a:lnTo>
                  <a:lnTo>
                    <a:pt x="1141" y="177"/>
                  </a:lnTo>
                  <a:lnTo>
                    <a:pt x="1167" y="175"/>
                  </a:lnTo>
                  <a:lnTo>
                    <a:pt x="1176" y="183"/>
                  </a:lnTo>
                  <a:lnTo>
                    <a:pt x="1179" y="183"/>
                  </a:lnTo>
                  <a:lnTo>
                    <a:pt x="1179" y="177"/>
                  </a:lnTo>
                  <a:lnTo>
                    <a:pt x="1179" y="177"/>
                  </a:lnTo>
                  <a:lnTo>
                    <a:pt x="1183" y="177"/>
                  </a:lnTo>
                  <a:lnTo>
                    <a:pt x="1188" y="175"/>
                  </a:lnTo>
                  <a:lnTo>
                    <a:pt x="1185" y="160"/>
                  </a:lnTo>
                  <a:lnTo>
                    <a:pt x="1185" y="160"/>
                  </a:lnTo>
                  <a:lnTo>
                    <a:pt x="1189" y="156"/>
                  </a:lnTo>
                  <a:lnTo>
                    <a:pt x="1193" y="152"/>
                  </a:lnTo>
                  <a:lnTo>
                    <a:pt x="1194" y="149"/>
                  </a:lnTo>
                  <a:lnTo>
                    <a:pt x="1194" y="149"/>
                  </a:lnTo>
                  <a:lnTo>
                    <a:pt x="1196" y="148"/>
                  </a:lnTo>
                  <a:lnTo>
                    <a:pt x="1198" y="149"/>
                  </a:lnTo>
                  <a:lnTo>
                    <a:pt x="1198" y="149"/>
                  </a:lnTo>
                  <a:lnTo>
                    <a:pt x="1201" y="152"/>
                  </a:lnTo>
                  <a:lnTo>
                    <a:pt x="1205" y="153"/>
                  </a:lnTo>
                  <a:lnTo>
                    <a:pt x="1209" y="155"/>
                  </a:lnTo>
                  <a:lnTo>
                    <a:pt x="1211" y="153"/>
                  </a:lnTo>
                  <a:lnTo>
                    <a:pt x="1215" y="152"/>
                  </a:lnTo>
                  <a:lnTo>
                    <a:pt x="1218" y="151"/>
                  </a:lnTo>
                  <a:lnTo>
                    <a:pt x="1218" y="151"/>
                  </a:lnTo>
                  <a:lnTo>
                    <a:pt x="1219" y="149"/>
                  </a:lnTo>
                  <a:lnTo>
                    <a:pt x="1219" y="147"/>
                  </a:lnTo>
                  <a:lnTo>
                    <a:pt x="1220" y="144"/>
                  </a:lnTo>
                  <a:lnTo>
                    <a:pt x="1220" y="144"/>
                  </a:lnTo>
                  <a:lnTo>
                    <a:pt x="1214" y="138"/>
                  </a:lnTo>
                  <a:lnTo>
                    <a:pt x="1211" y="135"/>
                  </a:lnTo>
                  <a:lnTo>
                    <a:pt x="1210" y="132"/>
                  </a:lnTo>
                  <a:lnTo>
                    <a:pt x="1210" y="132"/>
                  </a:lnTo>
                  <a:lnTo>
                    <a:pt x="1210" y="131"/>
                  </a:lnTo>
                  <a:lnTo>
                    <a:pt x="1215" y="123"/>
                  </a:lnTo>
                  <a:lnTo>
                    <a:pt x="1215" y="123"/>
                  </a:lnTo>
                  <a:lnTo>
                    <a:pt x="1219" y="118"/>
                  </a:lnTo>
                  <a:lnTo>
                    <a:pt x="1220" y="118"/>
                  </a:lnTo>
                  <a:lnTo>
                    <a:pt x="1223" y="121"/>
                  </a:lnTo>
                  <a:lnTo>
                    <a:pt x="1223" y="121"/>
                  </a:lnTo>
                  <a:lnTo>
                    <a:pt x="1229" y="118"/>
                  </a:lnTo>
                  <a:lnTo>
                    <a:pt x="1235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42" y="110"/>
                  </a:lnTo>
                  <a:lnTo>
                    <a:pt x="1245" y="103"/>
                  </a:lnTo>
                  <a:lnTo>
                    <a:pt x="1250" y="95"/>
                  </a:lnTo>
                  <a:lnTo>
                    <a:pt x="1253" y="91"/>
                  </a:lnTo>
                  <a:lnTo>
                    <a:pt x="1257" y="87"/>
                  </a:lnTo>
                  <a:lnTo>
                    <a:pt x="1277" y="91"/>
                  </a:lnTo>
                  <a:lnTo>
                    <a:pt x="1277" y="91"/>
                  </a:lnTo>
                  <a:lnTo>
                    <a:pt x="1280" y="88"/>
                  </a:lnTo>
                  <a:lnTo>
                    <a:pt x="1283" y="86"/>
                  </a:lnTo>
                  <a:lnTo>
                    <a:pt x="1289" y="83"/>
                  </a:lnTo>
                  <a:lnTo>
                    <a:pt x="1295" y="81"/>
                  </a:lnTo>
                  <a:lnTo>
                    <a:pt x="1298" y="79"/>
                  </a:lnTo>
                  <a:lnTo>
                    <a:pt x="1298" y="65"/>
                  </a:lnTo>
                  <a:lnTo>
                    <a:pt x="1298" y="65"/>
                  </a:lnTo>
                  <a:lnTo>
                    <a:pt x="1303" y="62"/>
                  </a:lnTo>
                  <a:lnTo>
                    <a:pt x="1308" y="60"/>
                  </a:lnTo>
                  <a:lnTo>
                    <a:pt x="1314" y="60"/>
                  </a:lnTo>
                  <a:lnTo>
                    <a:pt x="1320" y="59"/>
                  </a:lnTo>
                  <a:lnTo>
                    <a:pt x="1323" y="57"/>
                  </a:lnTo>
                  <a:lnTo>
                    <a:pt x="1328" y="53"/>
                  </a:lnTo>
                  <a:lnTo>
                    <a:pt x="1328" y="53"/>
                  </a:lnTo>
                  <a:lnTo>
                    <a:pt x="1333" y="47"/>
                  </a:lnTo>
                  <a:lnTo>
                    <a:pt x="1334" y="44"/>
                  </a:lnTo>
                  <a:lnTo>
                    <a:pt x="1337" y="42"/>
                  </a:lnTo>
                  <a:lnTo>
                    <a:pt x="1343" y="37"/>
                  </a:lnTo>
                  <a:lnTo>
                    <a:pt x="1328" y="26"/>
                  </a:lnTo>
                  <a:lnTo>
                    <a:pt x="1328" y="26"/>
                  </a:lnTo>
                  <a:lnTo>
                    <a:pt x="1323" y="33"/>
                  </a:lnTo>
                  <a:lnTo>
                    <a:pt x="1319" y="38"/>
                  </a:lnTo>
                  <a:lnTo>
                    <a:pt x="1316" y="39"/>
                  </a:lnTo>
                  <a:lnTo>
                    <a:pt x="1316" y="39"/>
                  </a:lnTo>
                  <a:lnTo>
                    <a:pt x="1314" y="38"/>
                  </a:lnTo>
                  <a:lnTo>
                    <a:pt x="1312" y="37"/>
                  </a:lnTo>
                  <a:lnTo>
                    <a:pt x="1312" y="33"/>
                  </a:lnTo>
                  <a:lnTo>
                    <a:pt x="1312" y="33"/>
                  </a:lnTo>
                  <a:lnTo>
                    <a:pt x="1310" y="29"/>
                  </a:lnTo>
                  <a:lnTo>
                    <a:pt x="1307" y="25"/>
                  </a:lnTo>
                  <a:lnTo>
                    <a:pt x="1306" y="21"/>
                  </a:lnTo>
                  <a:lnTo>
                    <a:pt x="1305" y="18"/>
                  </a:lnTo>
                  <a:lnTo>
                    <a:pt x="1305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299" y="22"/>
                  </a:lnTo>
                  <a:lnTo>
                    <a:pt x="1299" y="22"/>
                  </a:lnTo>
                  <a:lnTo>
                    <a:pt x="1295" y="18"/>
                  </a:lnTo>
                  <a:lnTo>
                    <a:pt x="1293" y="13"/>
                  </a:lnTo>
                  <a:lnTo>
                    <a:pt x="1293" y="13"/>
                  </a:lnTo>
                  <a:lnTo>
                    <a:pt x="1294" y="9"/>
                  </a:lnTo>
                  <a:lnTo>
                    <a:pt x="1297" y="7"/>
                  </a:lnTo>
                  <a:lnTo>
                    <a:pt x="1299" y="5"/>
                  </a:lnTo>
                  <a:lnTo>
                    <a:pt x="1299" y="5"/>
                  </a:lnTo>
                  <a:lnTo>
                    <a:pt x="1302" y="5"/>
                  </a:lnTo>
                  <a:lnTo>
                    <a:pt x="1303" y="7"/>
                  </a:lnTo>
                  <a:lnTo>
                    <a:pt x="1306" y="9"/>
                  </a:lnTo>
                  <a:lnTo>
                    <a:pt x="1306" y="9"/>
                  </a:lnTo>
                  <a:lnTo>
                    <a:pt x="1310" y="11"/>
                  </a:lnTo>
                  <a:lnTo>
                    <a:pt x="1316" y="11"/>
                  </a:lnTo>
                  <a:lnTo>
                    <a:pt x="1325" y="9"/>
                  </a:lnTo>
                  <a:lnTo>
                    <a:pt x="1325" y="9"/>
                  </a:lnTo>
                  <a:lnTo>
                    <a:pt x="1327" y="8"/>
                  </a:lnTo>
                  <a:lnTo>
                    <a:pt x="1328" y="5"/>
                  </a:lnTo>
                  <a:lnTo>
                    <a:pt x="1329" y="0"/>
                  </a:lnTo>
                  <a:lnTo>
                    <a:pt x="1329" y="0"/>
                  </a:lnTo>
                  <a:lnTo>
                    <a:pt x="1334" y="2"/>
                  </a:lnTo>
                  <a:lnTo>
                    <a:pt x="1342" y="3"/>
                  </a:lnTo>
                  <a:lnTo>
                    <a:pt x="1354" y="7"/>
                  </a:lnTo>
                  <a:lnTo>
                    <a:pt x="1393" y="15"/>
                  </a:lnTo>
                  <a:lnTo>
                    <a:pt x="1398" y="30"/>
                  </a:lnTo>
                  <a:lnTo>
                    <a:pt x="1398" y="30"/>
                  </a:lnTo>
                  <a:lnTo>
                    <a:pt x="1399" y="34"/>
                  </a:lnTo>
                  <a:lnTo>
                    <a:pt x="1400" y="38"/>
                  </a:lnTo>
                  <a:lnTo>
                    <a:pt x="1399" y="51"/>
                  </a:lnTo>
                  <a:lnTo>
                    <a:pt x="1398" y="65"/>
                  </a:lnTo>
                  <a:lnTo>
                    <a:pt x="1398" y="65"/>
                  </a:lnTo>
                  <a:lnTo>
                    <a:pt x="1400" y="72"/>
                  </a:lnTo>
                  <a:lnTo>
                    <a:pt x="1403" y="82"/>
                  </a:lnTo>
                  <a:lnTo>
                    <a:pt x="1403" y="82"/>
                  </a:lnTo>
                  <a:lnTo>
                    <a:pt x="1403" y="85"/>
                  </a:lnTo>
                  <a:lnTo>
                    <a:pt x="1402" y="86"/>
                  </a:lnTo>
                  <a:lnTo>
                    <a:pt x="1399" y="87"/>
                  </a:lnTo>
                  <a:lnTo>
                    <a:pt x="1393" y="88"/>
                  </a:lnTo>
                  <a:lnTo>
                    <a:pt x="1393" y="88"/>
                  </a:lnTo>
                  <a:lnTo>
                    <a:pt x="1390" y="91"/>
                  </a:lnTo>
                  <a:lnTo>
                    <a:pt x="1390" y="95"/>
                  </a:lnTo>
                  <a:lnTo>
                    <a:pt x="1390" y="95"/>
                  </a:lnTo>
                  <a:lnTo>
                    <a:pt x="1393" y="99"/>
                  </a:lnTo>
                  <a:lnTo>
                    <a:pt x="1394" y="101"/>
                  </a:lnTo>
                  <a:lnTo>
                    <a:pt x="1394" y="104"/>
                  </a:lnTo>
                  <a:lnTo>
                    <a:pt x="1393" y="107"/>
                  </a:lnTo>
                  <a:lnTo>
                    <a:pt x="1390" y="109"/>
                  </a:lnTo>
                  <a:lnTo>
                    <a:pt x="1389" y="112"/>
                  </a:lnTo>
                  <a:lnTo>
                    <a:pt x="1389" y="112"/>
                  </a:lnTo>
                  <a:lnTo>
                    <a:pt x="1389" y="114"/>
                  </a:lnTo>
                  <a:lnTo>
                    <a:pt x="1390" y="117"/>
                  </a:lnTo>
                  <a:lnTo>
                    <a:pt x="1395" y="122"/>
                  </a:lnTo>
                  <a:lnTo>
                    <a:pt x="1402" y="126"/>
                  </a:lnTo>
                  <a:lnTo>
                    <a:pt x="1406" y="127"/>
                  </a:lnTo>
                  <a:lnTo>
                    <a:pt x="1406" y="127"/>
                  </a:lnTo>
                  <a:lnTo>
                    <a:pt x="1410" y="129"/>
                  </a:lnTo>
                  <a:lnTo>
                    <a:pt x="1413" y="129"/>
                  </a:lnTo>
                  <a:lnTo>
                    <a:pt x="1421" y="127"/>
                  </a:lnTo>
                  <a:lnTo>
                    <a:pt x="1435" y="123"/>
                  </a:lnTo>
                  <a:lnTo>
                    <a:pt x="1435" y="123"/>
                  </a:lnTo>
                  <a:lnTo>
                    <a:pt x="1438" y="123"/>
                  </a:lnTo>
                  <a:lnTo>
                    <a:pt x="1442" y="123"/>
                  </a:lnTo>
                  <a:lnTo>
                    <a:pt x="1447" y="121"/>
                  </a:lnTo>
                  <a:lnTo>
                    <a:pt x="1450" y="117"/>
                  </a:lnTo>
                  <a:lnTo>
                    <a:pt x="1451" y="116"/>
                  </a:lnTo>
                  <a:lnTo>
                    <a:pt x="1472" y="118"/>
                  </a:lnTo>
                  <a:lnTo>
                    <a:pt x="1481" y="125"/>
                  </a:lnTo>
                  <a:lnTo>
                    <a:pt x="1477" y="131"/>
                  </a:lnTo>
                  <a:lnTo>
                    <a:pt x="1477" y="131"/>
                  </a:lnTo>
                  <a:lnTo>
                    <a:pt x="1479" y="139"/>
                  </a:lnTo>
                  <a:lnTo>
                    <a:pt x="1482" y="144"/>
                  </a:lnTo>
                  <a:lnTo>
                    <a:pt x="1485" y="148"/>
                  </a:lnTo>
                  <a:lnTo>
                    <a:pt x="1485" y="148"/>
                  </a:lnTo>
                  <a:lnTo>
                    <a:pt x="1486" y="147"/>
                  </a:lnTo>
                  <a:lnTo>
                    <a:pt x="1489" y="144"/>
                  </a:lnTo>
                  <a:lnTo>
                    <a:pt x="1490" y="142"/>
                  </a:lnTo>
                  <a:lnTo>
                    <a:pt x="1490" y="139"/>
                  </a:lnTo>
                  <a:lnTo>
                    <a:pt x="1490" y="138"/>
                  </a:lnTo>
                  <a:lnTo>
                    <a:pt x="1490" y="138"/>
                  </a:lnTo>
                  <a:lnTo>
                    <a:pt x="1494" y="134"/>
                  </a:lnTo>
                  <a:lnTo>
                    <a:pt x="1498" y="131"/>
                  </a:lnTo>
                  <a:lnTo>
                    <a:pt x="1498" y="131"/>
                  </a:lnTo>
                  <a:lnTo>
                    <a:pt x="1500" y="136"/>
                  </a:lnTo>
                  <a:lnTo>
                    <a:pt x="1505" y="142"/>
                  </a:lnTo>
                  <a:lnTo>
                    <a:pt x="1512" y="148"/>
                  </a:lnTo>
                  <a:lnTo>
                    <a:pt x="1517" y="145"/>
                  </a:lnTo>
                  <a:lnTo>
                    <a:pt x="1517" y="145"/>
                  </a:lnTo>
                  <a:lnTo>
                    <a:pt x="1527" y="160"/>
                  </a:lnTo>
                  <a:lnTo>
                    <a:pt x="1527" y="160"/>
                  </a:lnTo>
                  <a:lnTo>
                    <a:pt x="1526" y="161"/>
                  </a:lnTo>
                  <a:lnTo>
                    <a:pt x="1526" y="165"/>
                  </a:lnTo>
                  <a:lnTo>
                    <a:pt x="1527" y="171"/>
                  </a:lnTo>
                  <a:lnTo>
                    <a:pt x="1527" y="171"/>
                  </a:lnTo>
                  <a:lnTo>
                    <a:pt x="1533" y="174"/>
                  </a:lnTo>
                  <a:lnTo>
                    <a:pt x="1539" y="177"/>
                  </a:lnTo>
                  <a:lnTo>
                    <a:pt x="1544" y="180"/>
                  </a:lnTo>
                  <a:lnTo>
                    <a:pt x="1547" y="182"/>
                  </a:lnTo>
                  <a:lnTo>
                    <a:pt x="1548" y="183"/>
                  </a:lnTo>
                  <a:lnTo>
                    <a:pt x="1548" y="183"/>
                  </a:lnTo>
                  <a:lnTo>
                    <a:pt x="1546" y="188"/>
                  </a:lnTo>
                  <a:lnTo>
                    <a:pt x="1543" y="191"/>
                  </a:lnTo>
                  <a:lnTo>
                    <a:pt x="1538" y="191"/>
                  </a:lnTo>
                  <a:lnTo>
                    <a:pt x="1538" y="191"/>
                  </a:lnTo>
                  <a:lnTo>
                    <a:pt x="1531" y="195"/>
                  </a:lnTo>
                  <a:lnTo>
                    <a:pt x="1525" y="199"/>
                  </a:lnTo>
                  <a:lnTo>
                    <a:pt x="1525" y="199"/>
                  </a:lnTo>
                  <a:lnTo>
                    <a:pt x="1521" y="208"/>
                  </a:lnTo>
                  <a:lnTo>
                    <a:pt x="1517" y="214"/>
                  </a:lnTo>
                  <a:lnTo>
                    <a:pt x="1533" y="231"/>
                  </a:lnTo>
                  <a:lnTo>
                    <a:pt x="1533" y="231"/>
                  </a:lnTo>
                  <a:lnTo>
                    <a:pt x="1535" y="231"/>
                  </a:lnTo>
                  <a:lnTo>
                    <a:pt x="1538" y="230"/>
                  </a:lnTo>
                  <a:lnTo>
                    <a:pt x="1542" y="227"/>
                  </a:lnTo>
                  <a:lnTo>
                    <a:pt x="1543" y="223"/>
                  </a:lnTo>
                  <a:lnTo>
                    <a:pt x="1546" y="221"/>
                  </a:lnTo>
                  <a:lnTo>
                    <a:pt x="1546" y="221"/>
                  </a:lnTo>
                  <a:lnTo>
                    <a:pt x="1548" y="217"/>
                  </a:lnTo>
                  <a:lnTo>
                    <a:pt x="1551" y="214"/>
                  </a:lnTo>
                  <a:lnTo>
                    <a:pt x="1560" y="209"/>
                  </a:lnTo>
                  <a:lnTo>
                    <a:pt x="1569" y="202"/>
                  </a:lnTo>
                  <a:lnTo>
                    <a:pt x="1573" y="199"/>
                  </a:lnTo>
                  <a:lnTo>
                    <a:pt x="1575" y="196"/>
                  </a:lnTo>
                  <a:lnTo>
                    <a:pt x="1575" y="196"/>
                  </a:lnTo>
                  <a:lnTo>
                    <a:pt x="1584" y="192"/>
                  </a:lnTo>
                  <a:lnTo>
                    <a:pt x="1596" y="191"/>
                  </a:lnTo>
                  <a:lnTo>
                    <a:pt x="1608" y="189"/>
                  </a:lnTo>
                  <a:lnTo>
                    <a:pt x="1612" y="188"/>
                  </a:lnTo>
                  <a:lnTo>
                    <a:pt x="1612" y="188"/>
                  </a:lnTo>
                  <a:lnTo>
                    <a:pt x="1614" y="182"/>
                  </a:lnTo>
                  <a:lnTo>
                    <a:pt x="1617" y="179"/>
                  </a:lnTo>
                  <a:lnTo>
                    <a:pt x="1618" y="178"/>
                  </a:lnTo>
                  <a:lnTo>
                    <a:pt x="1621" y="179"/>
                  </a:lnTo>
                  <a:lnTo>
                    <a:pt x="1626" y="182"/>
                  </a:lnTo>
                  <a:lnTo>
                    <a:pt x="1629" y="183"/>
                  </a:lnTo>
                  <a:lnTo>
                    <a:pt x="1632" y="183"/>
                  </a:lnTo>
                  <a:lnTo>
                    <a:pt x="1632" y="183"/>
                  </a:lnTo>
                  <a:lnTo>
                    <a:pt x="1638" y="182"/>
                  </a:lnTo>
                  <a:lnTo>
                    <a:pt x="1641" y="179"/>
                  </a:lnTo>
                  <a:lnTo>
                    <a:pt x="1651" y="174"/>
                  </a:lnTo>
                  <a:lnTo>
                    <a:pt x="1657" y="170"/>
                  </a:lnTo>
                  <a:lnTo>
                    <a:pt x="1660" y="169"/>
                  </a:lnTo>
                  <a:lnTo>
                    <a:pt x="1662" y="167"/>
                  </a:lnTo>
                  <a:lnTo>
                    <a:pt x="1662" y="167"/>
                  </a:lnTo>
                  <a:lnTo>
                    <a:pt x="1667" y="169"/>
                  </a:lnTo>
                  <a:lnTo>
                    <a:pt x="1673" y="173"/>
                  </a:lnTo>
                  <a:lnTo>
                    <a:pt x="1676" y="175"/>
                  </a:lnTo>
                  <a:lnTo>
                    <a:pt x="1679" y="175"/>
                  </a:lnTo>
                  <a:lnTo>
                    <a:pt x="1680" y="175"/>
                  </a:lnTo>
                  <a:lnTo>
                    <a:pt x="1680" y="175"/>
                  </a:lnTo>
                  <a:lnTo>
                    <a:pt x="1683" y="171"/>
                  </a:lnTo>
                  <a:lnTo>
                    <a:pt x="1683" y="166"/>
                  </a:lnTo>
                  <a:lnTo>
                    <a:pt x="1684" y="161"/>
                  </a:lnTo>
                  <a:lnTo>
                    <a:pt x="1686" y="157"/>
                  </a:lnTo>
                  <a:lnTo>
                    <a:pt x="1686" y="157"/>
                  </a:lnTo>
                  <a:lnTo>
                    <a:pt x="1696" y="153"/>
                  </a:lnTo>
                  <a:lnTo>
                    <a:pt x="1711" y="148"/>
                  </a:lnTo>
                  <a:lnTo>
                    <a:pt x="1711" y="148"/>
                  </a:lnTo>
                  <a:lnTo>
                    <a:pt x="1718" y="149"/>
                  </a:lnTo>
                  <a:lnTo>
                    <a:pt x="1723" y="153"/>
                  </a:lnTo>
                  <a:lnTo>
                    <a:pt x="1727" y="155"/>
                  </a:lnTo>
                  <a:lnTo>
                    <a:pt x="1730" y="156"/>
                  </a:lnTo>
                  <a:lnTo>
                    <a:pt x="1730" y="156"/>
                  </a:lnTo>
                  <a:lnTo>
                    <a:pt x="1732" y="155"/>
                  </a:lnTo>
                  <a:lnTo>
                    <a:pt x="1733" y="153"/>
                  </a:lnTo>
                  <a:lnTo>
                    <a:pt x="1733" y="145"/>
                  </a:lnTo>
                  <a:lnTo>
                    <a:pt x="1732" y="134"/>
                  </a:lnTo>
                  <a:lnTo>
                    <a:pt x="1732" y="134"/>
                  </a:lnTo>
                  <a:lnTo>
                    <a:pt x="1735" y="130"/>
                  </a:lnTo>
                  <a:lnTo>
                    <a:pt x="1736" y="125"/>
                  </a:lnTo>
                  <a:lnTo>
                    <a:pt x="1737" y="116"/>
                  </a:lnTo>
                  <a:lnTo>
                    <a:pt x="1737" y="104"/>
                  </a:lnTo>
                  <a:lnTo>
                    <a:pt x="1737" y="104"/>
                  </a:lnTo>
                  <a:lnTo>
                    <a:pt x="1737" y="100"/>
                  </a:lnTo>
                  <a:lnTo>
                    <a:pt x="1740" y="96"/>
                  </a:lnTo>
                  <a:lnTo>
                    <a:pt x="1743" y="92"/>
                  </a:lnTo>
                  <a:lnTo>
                    <a:pt x="1743" y="92"/>
                  </a:lnTo>
                  <a:lnTo>
                    <a:pt x="1744" y="91"/>
                  </a:lnTo>
                  <a:lnTo>
                    <a:pt x="1744" y="90"/>
                  </a:lnTo>
                  <a:lnTo>
                    <a:pt x="1745" y="87"/>
                  </a:lnTo>
                  <a:lnTo>
                    <a:pt x="1746" y="86"/>
                  </a:lnTo>
                  <a:lnTo>
                    <a:pt x="1749" y="85"/>
                  </a:lnTo>
                  <a:lnTo>
                    <a:pt x="1762" y="81"/>
                  </a:lnTo>
                  <a:lnTo>
                    <a:pt x="1762" y="81"/>
                  </a:lnTo>
                  <a:lnTo>
                    <a:pt x="1767" y="79"/>
                  </a:lnTo>
                  <a:lnTo>
                    <a:pt x="1772" y="79"/>
                  </a:lnTo>
                  <a:lnTo>
                    <a:pt x="1776" y="81"/>
                  </a:lnTo>
                  <a:lnTo>
                    <a:pt x="1780" y="82"/>
                  </a:lnTo>
                  <a:lnTo>
                    <a:pt x="1784" y="85"/>
                  </a:lnTo>
                  <a:lnTo>
                    <a:pt x="1787" y="87"/>
                  </a:lnTo>
                  <a:lnTo>
                    <a:pt x="1787" y="87"/>
                  </a:lnTo>
                  <a:lnTo>
                    <a:pt x="1792" y="91"/>
                  </a:lnTo>
                  <a:lnTo>
                    <a:pt x="1798" y="94"/>
                  </a:lnTo>
                  <a:lnTo>
                    <a:pt x="1803" y="95"/>
                  </a:lnTo>
                  <a:lnTo>
                    <a:pt x="1809" y="95"/>
                  </a:lnTo>
                  <a:lnTo>
                    <a:pt x="1816" y="94"/>
                  </a:lnTo>
                  <a:lnTo>
                    <a:pt x="1822" y="94"/>
                  </a:lnTo>
                  <a:lnTo>
                    <a:pt x="1822" y="94"/>
                  </a:lnTo>
                  <a:lnTo>
                    <a:pt x="1831" y="97"/>
                  </a:lnTo>
                  <a:lnTo>
                    <a:pt x="1846" y="107"/>
                  </a:lnTo>
                  <a:lnTo>
                    <a:pt x="1846" y="107"/>
                  </a:lnTo>
                  <a:lnTo>
                    <a:pt x="1848" y="110"/>
                  </a:lnTo>
                  <a:lnTo>
                    <a:pt x="1849" y="116"/>
                  </a:lnTo>
                  <a:lnTo>
                    <a:pt x="1849" y="127"/>
                  </a:lnTo>
                  <a:lnTo>
                    <a:pt x="1848" y="142"/>
                  </a:lnTo>
                  <a:lnTo>
                    <a:pt x="1848" y="142"/>
                  </a:lnTo>
                  <a:lnTo>
                    <a:pt x="1858" y="151"/>
                  </a:lnTo>
                  <a:lnTo>
                    <a:pt x="1858" y="151"/>
                  </a:lnTo>
                  <a:lnTo>
                    <a:pt x="1859" y="152"/>
                  </a:lnTo>
                  <a:lnTo>
                    <a:pt x="1860" y="153"/>
                  </a:lnTo>
                  <a:lnTo>
                    <a:pt x="1860" y="157"/>
                  </a:lnTo>
                  <a:lnTo>
                    <a:pt x="1858" y="162"/>
                  </a:lnTo>
                  <a:lnTo>
                    <a:pt x="1858" y="162"/>
                  </a:lnTo>
                  <a:lnTo>
                    <a:pt x="1845" y="179"/>
                  </a:lnTo>
                  <a:lnTo>
                    <a:pt x="1845" y="179"/>
                  </a:lnTo>
                  <a:lnTo>
                    <a:pt x="1840" y="182"/>
                  </a:lnTo>
                  <a:lnTo>
                    <a:pt x="1837" y="186"/>
                  </a:lnTo>
                  <a:lnTo>
                    <a:pt x="1832" y="193"/>
                  </a:lnTo>
                  <a:lnTo>
                    <a:pt x="1832" y="193"/>
                  </a:lnTo>
                  <a:lnTo>
                    <a:pt x="1825" y="196"/>
                  </a:lnTo>
                  <a:lnTo>
                    <a:pt x="1819" y="201"/>
                  </a:lnTo>
                  <a:lnTo>
                    <a:pt x="1810" y="209"/>
                  </a:lnTo>
                  <a:lnTo>
                    <a:pt x="1810" y="209"/>
                  </a:lnTo>
                  <a:lnTo>
                    <a:pt x="1803" y="212"/>
                  </a:lnTo>
                  <a:lnTo>
                    <a:pt x="1802" y="214"/>
                  </a:lnTo>
                  <a:lnTo>
                    <a:pt x="1801" y="217"/>
                  </a:lnTo>
                  <a:lnTo>
                    <a:pt x="1801" y="218"/>
                  </a:lnTo>
                  <a:lnTo>
                    <a:pt x="1801" y="218"/>
                  </a:lnTo>
                  <a:lnTo>
                    <a:pt x="1803" y="247"/>
                  </a:lnTo>
                  <a:lnTo>
                    <a:pt x="1803" y="247"/>
                  </a:lnTo>
                  <a:lnTo>
                    <a:pt x="1805" y="249"/>
                  </a:lnTo>
                  <a:lnTo>
                    <a:pt x="1805" y="252"/>
                  </a:lnTo>
                  <a:lnTo>
                    <a:pt x="1805" y="258"/>
                  </a:lnTo>
                  <a:lnTo>
                    <a:pt x="1801" y="266"/>
                  </a:lnTo>
                  <a:lnTo>
                    <a:pt x="1801" y="266"/>
                  </a:lnTo>
                  <a:lnTo>
                    <a:pt x="1797" y="272"/>
                  </a:lnTo>
                  <a:lnTo>
                    <a:pt x="1796" y="276"/>
                  </a:lnTo>
                  <a:lnTo>
                    <a:pt x="1794" y="280"/>
                  </a:lnTo>
                  <a:lnTo>
                    <a:pt x="1790" y="283"/>
                  </a:lnTo>
                  <a:lnTo>
                    <a:pt x="1790" y="283"/>
                  </a:lnTo>
                  <a:lnTo>
                    <a:pt x="1783" y="287"/>
                  </a:lnTo>
                  <a:lnTo>
                    <a:pt x="1775" y="292"/>
                  </a:lnTo>
                  <a:lnTo>
                    <a:pt x="1768" y="294"/>
                  </a:lnTo>
                  <a:lnTo>
                    <a:pt x="1766" y="294"/>
                  </a:lnTo>
                  <a:lnTo>
                    <a:pt x="1763" y="293"/>
                  </a:lnTo>
                  <a:lnTo>
                    <a:pt x="1763" y="293"/>
                  </a:lnTo>
                  <a:lnTo>
                    <a:pt x="1758" y="297"/>
                  </a:lnTo>
                  <a:lnTo>
                    <a:pt x="1752" y="302"/>
                  </a:lnTo>
                  <a:lnTo>
                    <a:pt x="1745" y="310"/>
                  </a:lnTo>
                  <a:lnTo>
                    <a:pt x="1743" y="314"/>
                  </a:lnTo>
                  <a:lnTo>
                    <a:pt x="1743" y="318"/>
                  </a:lnTo>
                  <a:lnTo>
                    <a:pt x="1743" y="318"/>
                  </a:lnTo>
                  <a:lnTo>
                    <a:pt x="1743" y="323"/>
                  </a:lnTo>
                  <a:lnTo>
                    <a:pt x="1745" y="329"/>
                  </a:lnTo>
                  <a:lnTo>
                    <a:pt x="1749" y="333"/>
                  </a:lnTo>
                  <a:lnTo>
                    <a:pt x="1752" y="337"/>
                  </a:lnTo>
                  <a:lnTo>
                    <a:pt x="1752" y="337"/>
                  </a:lnTo>
                  <a:lnTo>
                    <a:pt x="1766" y="342"/>
                  </a:lnTo>
                  <a:lnTo>
                    <a:pt x="1771" y="346"/>
                  </a:lnTo>
                  <a:lnTo>
                    <a:pt x="1775" y="349"/>
                  </a:lnTo>
                  <a:lnTo>
                    <a:pt x="1778" y="353"/>
                  </a:lnTo>
                  <a:lnTo>
                    <a:pt x="1780" y="358"/>
                  </a:lnTo>
                  <a:lnTo>
                    <a:pt x="1784" y="368"/>
                  </a:lnTo>
                  <a:lnTo>
                    <a:pt x="1784" y="368"/>
                  </a:lnTo>
                  <a:lnTo>
                    <a:pt x="1785" y="370"/>
                  </a:lnTo>
                  <a:lnTo>
                    <a:pt x="1788" y="371"/>
                  </a:lnTo>
                  <a:lnTo>
                    <a:pt x="1794" y="372"/>
                  </a:lnTo>
                  <a:lnTo>
                    <a:pt x="1798" y="374"/>
                  </a:lnTo>
                  <a:lnTo>
                    <a:pt x="1801" y="375"/>
                  </a:lnTo>
                  <a:lnTo>
                    <a:pt x="1803" y="379"/>
                  </a:lnTo>
                  <a:lnTo>
                    <a:pt x="1806" y="383"/>
                  </a:lnTo>
                  <a:lnTo>
                    <a:pt x="1806" y="383"/>
                  </a:lnTo>
                  <a:lnTo>
                    <a:pt x="1805" y="385"/>
                  </a:lnTo>
                  <a:lnTo>
                    <a:pt x="1803" y="386"/>
                  </a:lnTo>
                  <a:lnTo>
                    <a:pt x="1798" y="389"/>
                  </a:lnTo>
                  <a:lnTo>
                    <a:pt x="1792" y="389"/>
                  </a:lnTo>
                  <a:lnTo>
                    <a:pt x="1789" y="390"/>
                  </a:lnTo>
                  <a:lnTo>
                    <a:pt x="1785" y="393"/>
                  </a:lnTo>
                  <a:lnTo>
                    <a:pt x="1785" y="393"/>
                  </a:lnTo>
                  <a:lnTo>
                    <a:pt x="1787" y="409"/>
                  </a:lnTo>
                  <a:lnTo>
                    <a:pt x="1790" y="418"/>
                  </a:lnTo>
                  <a:lnTo>
                    <a:pt x="1793" y="421"/>
                  </a:lnTo>
                  <a:lnTo>
                    <a:pt x="1797" y="427"/>
                  </a:lnTo>
                  <a:lnTo>
                    <a:pt x="1797" y="427"/>
                  </a:lnTo>
                  <a:lnTo>
                    <a:pt x="1806" y="425"/>
                  </a:lnTo>
                  <a:lnTo>
                    <a:pt x="1822" y="421"/>
                  </a:lnTo>
                  <a:lnTo>
                    <a:pt x="1838" y="418"/>
                  </a:lnTo>
                  <a:lnTo>
                    <a:pt x="1846" y="416"/>
                  </a:lnTo>
                  <a:lnTo>
                    <a:pt x="1846" y="416"/>
                  </a:lnTo>
                  <a:lnTo>
                    <a:pt x="1849" y="421"/>
                  </a:lnTo>
                  <a:lnTo>
                    <a:pt x="1850" y="427"/>
                  </a:lnTo>
                  <a:lnTo>
                    <a:pt x="1851" y="442"/>
                  </a:lnTo>
                  <a:lnTo>
                    <a:pt x="1851" y="460"/>
                  </a:lnTo>
                  <a:lnTo>
                    <a:pt x="1838" y="486"/>
                  </a:lnTo>
                  <a:lnTo>
                    <a:pt x="1811" y="486"/>
                  </a:lnTo>
                  <a:lnTo>
                    <a:pt x="1806" y="491"/>
                  </a:lnTo>
                  <a:lnTo>
                    <a:pt x="1806" y="491"/>
                  </a:lnTo>
                  <a:lnTo>
                    <a:pt x="1806" y="498"/>
                  </a:lnTo>
                  <a:lnTo>
                    <a:pt x="1806" y="503"/>
                  </a:lnTo>
                  <a:lnTo>
                    <a:pt x="1805" y="506"/>
                  </a:lnTo>
                  <a:lnTo>
                    <a:pt x="1803" y="507"/>
                  </a:lnTo>
                  <a:lnTo>
                    <a:pt x="1803" y="507"/>
                  </a:lnTo>
                  <a:lnTo>
                    <a:pt x="1800" y="507"/>
                  </a:lnTo>
                  <a:lnTo>
                    <a:pt x="1798" y="508"/>
                  </a:lnTo>
                  <a:lnTo>
                    <a:pt x="1798" y="510"/>
                  </a:lnTo>
                  <a:lnTo>
                    <a:pt x="1798" y="512"/>
                  </a:lnTo>
                  <a:lnTo>
                    <a:pt x="1802" y="515"/>
                  </a:lnTo>
                  <a:lnTo>
                    <a:pt x="1806" y="516"/>
                  </a:lnTo>
                  <a:lnTo>
                    <a:pt x="1806" y="516"/>
                  </a:lnTo>
                  <a:lnTo>
                    <a:pt x="1814" y="521"/>
                  </a:lnTo>
                  <a:lnTo>
                    <a:pt x="1819" y="528"/>
                  </a:lnTo>
                  <a:lnTo>
                    <a:pt x="1842" y="528"/>
                  </a:lnTo>
                  <a:lnTo>
                    <a:pt x="1842" y="528"/>
                  </a:lnTo>
                  <a:lnTo>
                    <a:pt x="1841" y="533"/>
                  </a:lnTo>
                  <a:lnTo>
                    <a:pt x="1841" y="533"/>
                  </a:lnTo>
                  <a:lnTo>
                    <a:pt x="1835" y="534"/>
                  </a:lnTo>
                  <a:lnTo>
                    <a:pt x="1832" y="536"/>
                  </a:lnTo>
                  <a:lnTo>
                    <a:pt x="1829" y="538"/>
                  </a:lnTo>
                  <a:lnTo>
                    <a:pt x="1829" y="541"/>
                  </a:lnTo>
                  <a:lnTo>
                    <a:pt x="1832" y="546"/>
                  </a:lnTo>
                  <a:lnTo>
                    <a:pt x="1835" y="548"/>
                  </a:lnTo>
                  <a:lnTo>
                    <a:pt x="1835" y="548"/>
                  </a:lnTo>
                  <a:lnTo>
                    <a:pt x="1841" y="554"/>
                  </a:lnTo>
                  <a:lnTo>
                    <a:pt x="1848" y="559"/>
                  </a:lnTo>
                  <a:lnTo>
                    <a:pt x="1848" y="559"/>
                  </a:lnTo>
                  <a:lnTo>
                    <a:pt x="1851" y="559"/>
                  </a:lnTo>
                  <a:lnTo>
                    <a:pt x="1858" y="558"/>
                  </a:lnTo>
                  <a:lnTo>
                    <a:pt x="1864" y="559"/>
                  </a:lnTo>
                  <a:lnTo>
                    <a:pt x="1868" y="560"/>
                  </a:lnTo>
                  <a:lnTo>
                    <a:pt x="1871" y="563"/>
                  </a:lnTo>
                  <a:lnTo>
                    <a:pt x="1871" y="563"/>
                  </a:lnTo>
                  <a:lnTo>
                    <a:pt x="1853" y="574"/>
                  </a:lnTo>
                  <a:lnTo>
                    <a:pt x="1853" y="574"/>
                  </a:lnTo>
                  <a:lnTo>
                    <a:pt x="1854" y="578"/>
                  </a:lnTo>
                  <a:lnTo>
                    <a:pt x="1857" y="583"/>
                  </a:lnTo>
                  <a:lnTo>
                    <a:pt x="1857" y="583"/>
                  </a:lnTo>
                  <a:lnTo>
                    <a:pt x="1853" y="587"/>
                  </a:lnTo>
                  <a:lnTo>
                    <a:pt x="1850" y="590"/>
                  </a:lnTo>
                  <a:lnTo>
                    <a:pt x="1850" y="604"/>
                  </a:lnTo>
                  <a:lnTo>
                    <a:pt x="1840" y="605"/>
                  </a:lnTo>
                  <a:lnTo>
                    <a:pt x="1840" y="605"/>
                  </a:lnTo>
                  <a:lnTo>
                    <a:pt x="1840" y="624"/>
                  </a:lnTo>
                  <a:lnTo>
                    <a:pt x="1838" y="634"/>
                  </a:lnTo>
                  <a:lnTo>
                    <a:pt x="1837" y="643"/>
                  </a:lnTo>
                  <a:lnTo>
                    <a:pt x="1837" y="651"/>
                  </a:lnTo>
                  <a:lnTo>
                    <a:pt x="1837" y="651"/>
                  </a:lnTo>
                  <a:lnTo>
                    <a:pt x="1841" y="656"/>
                  </a:lnTo>
                  <a:lnTo>
                    <a:pt x="1844" y="661"/>
                  </a:lnTo>
                  <a:lnTo>
                    <a:pt x="1846" y="670"/>
                  </a:lnTo>
                  <a:lnTo>
                    <a:pt x="1849" y="679"/>
                  </a:lnTo>
                  <a:lnTo>
                    <a:pt x="1853" y="692"/>
                  </a:lnTo>
                  <a:lnTo>
                    <a:pt x="1853" y="692"/>
                  </a:lnTo>
                  <a:lnTo>
                    <a:pt x="1850" y="692"/>
                  </a:lnTo>
                  <a:lnTo>
                    <a:pt x="1846" y="691"/>
                  </a:lnTo>
                  <a:lnTo>
                    <a:pt x="1840" y="690"/>
                  </a:lnTo>
                  <a:lnTo>
                    <a:pt x="1829" y="691"/>
                  </a:lnTo>
                  <a:lnTo>
                    <a:pt x="1829" y="721"/>
                  </a:lnTo>
                  <a:lnTo>
                    <a:pt x="1824" y="726"/>
                  </a:lnTo>
                  <a:lnTo>
                    <a:pt x="1824" y="726"/>
                  </a:lnTo>
                  <a:lnTo>
                    <a:pt x="1837" y="738"/>
                  </a:lnTo>
                  <a:lnTo>
                    <a:pt x="1837" y="738"/>
                  </a:lnTo>
                  <a:lnTo>
                    <a:pt x="1848" y="742"/>
                  </a:lnTo>
                  <a:lnTo>
                    <a:pt x="1859" y="747"/>
                  </a:lnTo>
                  <a:lnTo>
                    <a:pt x="1870" y="751"/>
                  </a:lnTo>
                  <a:lnTo>
                    <a:pt x="1873" y="751"/>
                  </a:lnTo>
                  <a:lnTo>
                    <a:pt x="1876" y="751"/>
                  </a:lnTo>
                  <a:lnTo>
                    <a:pt x="1876" y="751"/>
                  </a:lnTo>
                  <a:lnTo>
                    <a:pt x="1877" y="749"/>
                  </a:lnTo>
                  <a:lnTo>
                    <a:pt x="1879" y="747"/>
                  </a:lnTo>
                  <a:lnTo>
                    <a:pt x="1880" y="742"/>
                  </a:lnTo>
                  <a:lnTo>
                    <a:pt x="1880" y="736"/>
                  </a:lnTo>
                  <a:lnTo>
                    <a:pt x="1881" y="732"/>
                  </a:lnTo>
                  <a:lnTo>
                    <a:pt x="1881" y="732"/>
                  </a:lnTo>
                  <a:lnTo>
                    <a:pt x="1884" y="731"/>
                  </a:lnTo>
                  <a:lnTo>
                    <a:pt x="1888" y="731"/>
                  </a:lnTo>
                  <a:lnTo>
                    <a:pt x="1895" y="732"/>
                  </a:lnTo>
                  <a:lnTo>
                    <a:pt x="1903" y="732"/>
                  </a:lnTo>
                  <a:lnTo>
                    <a:pt x="1907" y="732"/>
                  </a:lnTo>
                  <a:lnTo>
                    <a:pt x="1911" y="731"/>
                  </a:lnTo>
                  <a:lnTo>
                    <a:pt x="1911" y="731"/>
                  </a:lnTo>
                  <a:lnTo>
                    <a:pt x="1912" y="732"/>
                  </a:lnTo>
                  <a:lnTo>
                    <a:pt x="1912" y="732"/>
                  </a:lnTo>
                  <a:lnTo>
                    <a:pt x="1936" y="828"/>
                  </a:lnTo>
                  <a:lnTo>
                    <a:pt x="1938" y="849"/>
                  </a:lnTo>
                  <a:lnTo>
                    <a:pt x="1859" y="863"/>
                  </a:lnTo>
                  <a:lnTo>
                    <a:pt x="1776" y="847"/>
                  </a:lnTo>
                  <a:lnTo>
                    <a:pt x="1766" y="845"/>
                  </a:lnTo>
                  <a:lnTo>
                    <a:pt x="1737" y="836"/>
                  </a:lnTo>
                  <a:lnTo>
                    <a:pt x="1683" y="852"/>
                  </a:lnTo>
                  <a:lnTo>
                    <a:pt x="1667" y="852"/>
                  </a:lnTo>
                  <a:lnTo>
                    <a:pt x="1644" y="858"/>
                  </a:lnTo>
                  <a:lnTo>
                    <a:pt x="1606" y="887"/>
                  </a:lnTo>
                  <a:lnTo>
                    <a:pt x="1573" y="896"/>
                  </a:lnTo>
                  <a:lnTo>
                    <a:pt x="1505" y="972"/>
                  </a:lnTo>
                  <a:lnTo>
                    <a:pt x="1491" y="1003"/>
                  </a:lnTo>
                  <a:lnTo>
                    <a:pt x="1491" y="1003"/>
                  </a:lnTo>
                  <a:lnTo>
                    <a:pt x="1399" y="1011"/>
                  </a:lnTo>
                  <a:lnTo>
                    <a:pt x="1308" y="1019"/>
                  </a:lnTo>
                  <a:lnTo>
                    <a:pt x="1220" y="1024"/>
                  </a:lnTo>
                  <a:lnTo>
                    <a:pt x="1135" y="1029"/>
                  </a:lnTo>
                  <a:lnTo>
                    <a:pt x="975" y="1037"/>
                  </a:lnTo>
                  <a:lnTo>
                    <a:pt x="837" y="1041"/>
                  </a:lnTo>
                  <a:lnTo>
                    <a:pt x="837" y="1041"/>
                  </a:lnTo>
                  <a:lnTo>
                    <a:pt x="829" y="1042"/>
                  </a:lnTo>
                  <a:lnTo>
                    <a:pt x="829" y="1042"/>
                  </a:lnTo>
                  <a:lnTo>
                    <a:pt x="798" y="1043"/>
                  </a:lnTo>
                  <a:lnTo>
                    <a:pt x="760" y="1045"/>
                  </a:lnTo>
                  <a:lnTo>
                    <a:pt x="679" y="1046"/>
                  </a:lnTo>
                  <a:lnTo>
                    <a:pt x="581" y="1045"/>
                  </a:lnTo>
                  <a:lnTo>
                    <a:pt x="581" y="1045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5" name="Freeform 193"/>
            <p:cNvSpPr>
              <a:spLocks/>
            </p:cNvSpPr>
            <p:nvPr/>
          </p:nvSpPr>
          <p:spPr bwMode="auto">
            <a:xfrm>
              <a:off x="4347416" y="4447472"/>
              <a:ext cx="1179512" cy="1604961"/>
            </a:xfrm>
            <a:custGeom>
              <a:avLst/>
              <a:gdLst>
                <a:gd name="T0" fmla="*/ 253 w 696"/>
                <a:gd name="T1" fmla="*/ 525 h 1038"/>
                <a:gd name="T2" fmla="*/ 241 w 696"/>
                <a:gd name="T3" fmla="*/ 509 h 1038"/>
                <a:gd name="T4" fmla="*/ 246 w 696"/>
                <a:gd name="T5" fmla="*/ 486 h 1038"/>
                <a:gd name="T6" fmla="*/ 258 w 696"/>
                <a:gd name="T7" fmla="*/ 445 h 1038"/>
                <a:gd name="T8" fmla="*/ 268 w 696"/>
                <a:gd name="T9" fmla="*/ 442 h 1038"/>
                <a:gd name="T10" fmla="*/ 275 w 696"/>
                <a:gd name="T11" fmla="*/ 410 h 1038"/>
                <a:gd name="T12" fmla="*/ 280 w 696"/>
                <a:gd name="T13" fmla="*/ 395 h 1038"/>
                <a:gd name="T14" fmla="*/ 262 w 696"/>
                <a:gd name="T15" fmla="*/ 360 h 1038"/>
                <a:gd name="T16" fmla="*/ 237 w 696"/>
                <a:gd name="T17" fmla="*/ 331 h 1038"/>
                <a:gd name="T18" fmla="*/ 209 w 696"/>
                <a:gd name="T19" fmla="*/ 319 h 1038"/>
                <a:gd name="T20" fmla="*/ 214 w 696"/>
                <a:gd name="T21" fmla="*/ 252 h 1038"/>
                <a:gd name="T22" fmla="*/ 190 w 696"/>
                <a:gd name="T23" fmla="*/ 157 h 1038"/>
                <a:gd name="T24" fmla="*/ 175 w 696"/>
                <a:gd name="T25" fmla="*/ 119 h 1038"/>
                <a:gd name="T26" fmla="*/ 181 w 696"/>
                <a:gd name="T27" fmla="*/ 81 h 1038"/>
                <a:gd name="T28" fmla="*/ 183 w 696"/>
                <a:gd name="T29" fmla="*/ 35 h 1038"/>
                <a:gd name="T30" fmla="*/ 412 w 696"/>
                <a:gd name="T31" fmla="*/ 0 h 1038"/>
                <a:gd name="T32" fmla="*/ 485 w 696"/>
                <a:gd name="T33" fmla="*/ 162 h 1038"/>
                <a:gd name="T34" fmla="*/ 504 w 696"/>
                <a:gd name="T35" fmla="*/ 224 h 1038"/>
                <a:gd name="T36" fmla="*/ 518 w 696"/>
                <a:gd name="T37" fmla="*/ 381 h 1038"/>
                <a:gd name="T38" fmla="*/ 504 w 696"/>
                <a:gd name="T39" fmla="*/ 436 h 1038"/>
                <a:gd name="T40" fmla="*/ 488 w 696"/>
                <a:gd name="T41" fmla="*/ 476 h 1038"/>
                <a:gd name="T42" fmla="*/ 496 w 696"/>
                <a:gd name="T43" fmla="*/ 491 h 1038"/>
                <a:gd name="T44" fmla="*/ 510 w 696"/>
                <a:gd name="T45" fmla="*/ 512 h 1038"/>
                <a:gd name="T46" fmla="*/ 527 w 696"/>
                <a:gd name="T47" fmla="*/ 524 h 1038"/>
                <a:gd name="T48" fmla="*/ 551 w 696"/>
                <a:gd name="T49" fmla="*/ 529 h 1038"/>
                <a:gd name="T50" fmla="*/ 571 w 696"/>
                <a:gd name="T51" fmla="*/ 537 h 1038"/>
                <a:gd name="T52" fmla="*/ 584 w 696"/>
                <a:gd name="T53" fmla="*/ 550 h 1038"/>
                <a:gd name="T54" fmla="*/ 590 w 696"/>
                <a:gd name="T55" fmla="*/ 565 h 1038"/>
                <a:gd name="T56" fmla="*/ 593 w 696"/>
                <a:gd name="T57" fmla="*/ 592 h 1038"/>
                <a:gd name="T58" fmla="*/ 593 w 696"/>
                <a:gd name="T59" fmla="*/ 614 h 1038"/>
                <a:gd name="T60" fmla="*/ 623 w 696"/>
                <a:gd name="T61" fmla="*/ 631 h 1038"/>
                <a:gd name="T62" fmla="*/ 657 w 696"/>
                <a:gd name="T63" fmla="*/ 657 h 1038"/>
                <a:gd name="T64" fmla="*/ 679 w 696"/>
                <a:gd name="T65" fmla="*/ 674 h 1038"/>
                <a:gd name="T66" fmla="*/ 696 w 696"/>
                <a:gd name="T67" fmla="*/ 708 h 1038"/>
                <a:gd name="T68" fmla="*/ 671 w 696"/>
                <a:gd name="T69" fmla="*/ 723 h 1038"/>
                <a:gd name="T70" fmla="*/ 654 w 696"/>
                <a:gd name="T71" fmla="*/ 751 h 1038"/>
                <a:gd name="T72" fmla="*/ 627 w 696"/>
                <a:gd name="T73" fmla="*/ 739 h 1038"/>
                <a:gd name="T74" fmla="*/ 615 w 696"/>
                <a:gd name="T75" fmla="*/ 757 h 1038"/>
                <a:gd name="T76" fmla="*/ 575 w 696"/>
                <a:gd name="T77" fmla="*/ 796 h 1038"/>
                <a:gd name="T78" fmla="*/ 510 w 696"/>
                <a:gd name="T79" fmla="*/ 827 h 1038"/>
                <a:gd name="T80" fmla="*/ 486 w 696"/>
                <a:gd name="T81" fmla="*/ 846 h 1038"/>
                <a:gd name="T82" fmla="*/ 443 w 696"/>
                <a:gd name="T83" fmla="*/ 879 h 1038"/>
                <a:gd name="T84" fmla="*/ 404 w 696"/>
                <a:gd name="T85" fmla="*/ 931 h 1038"/>
                <a:gd name="T86" fmla="*/ 391 w 696"/>
                <a:gd name="T87" fmla="*/ 962 h 1038"/>
                <a:gd name="T88" fmla="*/ 378 w 696"/>
                <a:gd name="T89" fmla="*/ 954 h 1038"/>
                <a:gd name="T90" fmla="*/ 361 w 696"/>
                <a:gd name="T91" fmla="*/ 957 h 1038"/>
                <a:gd name="T92" fmla="*/ 374 w 696"/>
                <a:gd name="T93" fmla="*/ 981 h 1038"/>
                <a:gd name="T94" fmla="*/ 387 w 696"/>
                <a:gd name="T95" fmla="*/ 1028 h 1038"/>
                <a:gd name="T96" fmla="*/ 315 w 696"/>
                <a:gd name="T97" fmla="*/ 1010 h 1038"/>
                <a:gd name="T98" fmla="*/ 285 w 696"/>
                <a:gd name="T99" fmla="*/ 983 h 1038"/>
                <a:gd name="T100" fmla="*/ 298 w 696"/>
                <a:gd name="T101" fmla="*/ 970 h 1038"/>
                <a:gd name="T102" fmla="*/ 307 w 696"/>
                <a:gd name="T103" fmla="*/ 949 h 1038"/>
                <a:gd name="T104" fmla="*/ 289 w 696"/>
                <a:gd name="T105" fmla="*/ 955 h 1038"/>
                <a:gd name="T106" fmla="*/ 280 w 696"/>
                <a:gd name="T107" fmla="*/ 927 h 1038"/>
                <a:gd name="T108" fmla="*/ 250 w 696"/>
                <a:gd name="T109" fmla="*/ 922 h 1038"/>
                <a:gd name="T110" fmla="*/ 202 w 696"/>
                <a:gd name="T111" fmla="*/ 932 h 1038"/>
                <a:gd name="T112" fmla="*/ 1 w 696"/>
                <a:gd name="T113" fmla="*/ 696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96" h="1038">
                  <a:moveTo>
                    <a:pt x="14" y="703"/>
                  </a:moveTo>
                  <a:lnTo>
                    <a:pt x="27" y="703"/>
                  </a:lnTo>
                  <a:lnTo>
                    <a:pt x="174" y="587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8" y="535"/>
                  </a:lnTo>
                  <a:lnTo>
                    <a:pt x="255" y="532"/>
                  </a:lnTo>
                  <a:lnTo>
                    <a:pt x="254" y="529"/>
                  </a:lnTo>
                  <a:lnTo>
                    <a:pt x="253" y="525"/>
                  </a:lnTo>
                  <a:lnTo>
                    <a:pt x="253" y="525"/>
                  </a:lnTo>
                  <a:lnTo>
                    <a:pt x="254" y="521"/>
                  </a:lnTo>
                  <a:lnTo>
                    <a:pt x="254" y="519"/>
                  </a:lnTo>
                  <a:lnTo>
                    <a:pt x="254" y="516"/>
                  </a:lnTo>
                  <a:lnTo>
                    <a:pt x="253" y="513"/>
                  </a:lnTo>
                  <a:lnTo>
                    <a:pt x="249" y="511"/>
                  </a:lnTo>
                  <a:lnTo>
                    <a:pt x="245" y="508"/>
                  </a:lnTo>
                  <a:lnTo>
                    <a:pt x="245" y="508"/>
                  </a:lnTo>
                  <a:lnTo>
                    <a:pt x="241" y="509"/>
                  </a:lnTo>
                  <a:lnTo>
                    <a:pt x="237" y="509"/>
                  </a:lnTo>
                  <a:lnTo>
                    <a:pt x="236" y="507"/>
                  </a:lnTo>
                  <a:lnTo>
                    <a:pt x="233" y="504"/>
                  </a:lnTo>
                  <a:lnTo>
                    <a:pt x="233" y="504"/>
                  </a:lnTo>
                  <a:lnTo>
                    <a:pt x="237" y="503"/>
                  </a:lnTo>
                  <a:lnTo>
                    <a:pt x="241" y="500"/>
                  </a:lnTo>
                  <a:lnTo>
                    <a:pt x="245" y="494"/>
                  </a:lnTo>
                  <a:lnTo>
                    <a:pt x="247" y="489"/>
                  </a:lnTo>
                  <a:lnTo>
                    <a:pt x="246" y="486"/>
                  </a:lnTo>
                  <a:lnTo>
                    <a:pt x="246" y="485"/>
                  </a:lnTo>
                  <a:lnTo>
                    <a:pt x="246" y="485"/>
                  </a:lnTo>
                  <a:lnTo>
                    <a:pt x="249" y="477"/>
                  </a:lnTo>
                  <a:lnTo>
                    <a:pt x="253" y="472"/>
                  </a:lnTo>
                  <a:lnTo>
                    <a:pt x="256" y="467"/>
                  </a:lnTo>
                  <a:lnTo>
                    <a:pt x="256" y="467"/>
                  </a:lnTo>
                  <a:lnTo>
                    <a:pt x="258" y="458"/>
                  </a:lnTo>
                  <a:lnTo>
                    <a:pt x="258" y="450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6" y="437"/>
                  </a:lnTo>
                  <a:lnTo>
                    <a:pt x="256" y="436"/>
                  </a:lnTo>
                  <a:lnTo>
                    <a:pt x="258" y="434"/>
                  </a:lnTo>
                  <a:lnTo>
                    <a:pt x="262" y="436"/>
                  </a:lnTo>
                  <a:lnTo>
                    <a:pt x="264" y="437"/>
                  </a:lnTo>
                  <a:lnTo>
                    <a:pt x="264" y="437"/>
                  </a:lnTo>
                  <a:lnTo>
                    <a:pt x="266" y="440"/>
                  </a:lnTo>
                  <a:lnTo>
                    <a:pt x="268" y="442"/>
                  </a:lnTo>
                  <a:lnTo>
                    <a:pt x="271" y="442"/>
                  </a:lnTo>
                  <a:lnTo>
                    <a:pt x="272" y="441"/>
                  </a:lnTo>
                  <a:lnTo>
                    <a:pt x="275" y="440"/>
                  </a:lnTo>
                  <a:lnTo>
                    <a:pt x="276" y="436"/>
                  </a:lnTo>
                  <a:lnTo>
                    <a:pt x="276" y="436"/>
                  </a:lnTo>
                  <a:lnTo>
                    <a:pt x="277" y="425"/>
                  </a:lnTo>
                  <a:lnTo>
                    <a:pt x="277" y="419"/>
                  </a:lnTo>
                  <a:lnTo>
                    <a:pt x="276" y="415"/>
                  </a:lnTo>
                  <a:lnTo>
                    <a:pt x="275" y="410"/>
                  </a:lnTo>
                  <a:lnTo>
                    <a:pt x="275" y="410"/>
                  </a:lnTo>
                  <a:lnTo>
                    <a:pt x="271" y="410"/>
                  </a:lnTo>
                  <a:lnTo>
                    <a:pt x="269" y="410"/>
                  </a:lnTo>
                  <a:lnTo>
                    <a:pt x="269" y="407"/>
                  </a:lnTo>
                  <a:lnTo>
                    <a:pt x="269" y="406"/>
                  </a:lnTo>
                  <a:lnTo>
                    <a:pt x="272" y="401"/>
                  </a:lnTo>
                  <a:lnTo>
                    <a:pt x="275" y="398"/>
                  </a:lnTo>
                  <a:lnTo>
                    <a:pt x="275" y="398"/>
                  </a:lnTo>
                  <a:lnTo>
                    <a:pt x="280" y="395"/>
                  </a:lnTo>
                  <a:lnTo>
                    <a:pt x="284" y="392"/>
                  </a:lnTo>
                  <a:lnTo>
                    <a:pt x="288" y="385"/>
                  </a:lnTo>
                  <a:lnTo>
                    <a:pt x="289" y="380"/>
                  </a:lnTo>
                  <a:lnTo>
                    <a:pt x="289" y="380"/>
                  </a:lnTo>
                  <a:lnTo>
                    <a:pt x="279" y="372"/>
                  </a:lnTo>
                  <a:lnTo>
                    <a:pt x="272" y="368"/>
                  </a:lnTo>
                  <a:lnTo>
                    <a:pt x="267" y="366"/>
                  </a:lnTo>
                  <a:lnTo>
                    <a:pt x="262" y="360"/>
                  </a:lnTo>
                  <a:lnTo>
                    <a:pt x="262" y="360"/>
                  </a:lnTo>
                  <a:lnTo>
                    <a:pt x="255" y="354"/>
                  </a:lnTo>
                  <a:lnTo>
                    <a:pt x="251" y="348"/>
                  </a:lnTo>
                  <a:lnTo>
                    <a:pt x="251" y="348"/>
                  </a:lnTo>
                  <a:lnTo>
                    <a:pt x="247" y="345"/>
                  </a:lnTo>
                  <a:lnTo>
                    <a:pt x="246" y="344"/>
                  </a:lnTo>
                  <a:lnTo>
                    <a:pt x="245" y="338"/>
                  </a:lnTo>
                  <a:lnTo>
                    <a:pt x="244" y="336"/>
                  </a:lnTo>
                  <a:lnTo>
                    <a:pt x="242" y="333"/>
                  </a:lnTo>
                  <a:lnTo>
                    <a:pt x="237" y="331"/>
                  </a:lnTo>
                  <a:lnTo>
                    <a:pt x="231" y="328"/>
                  </a:lnTo>
                  <a:lnTo>
                    <a:pt x="231" y="328"/>
                  </a:lnTo>
                  <a:lnTo>
                    <a:pt x="227" y="328"/>
                  </a:lnTo>
                  <a:lnTo>
                    <a:pt x="221" y="328"/>
                  </a:lnTo>
                  <a:lnTo>
                    <a:pt x="216" y="327"/>
                  </a:lnTo>
                  <a:lnTo>
                    <a:pt x="214" y="324"/>
                  </a:lnTo>
                  <a:lnTo>
                    <a:pt x="211" y="322"/>
                  </a:lnTo>
                  <a:lnTo>
                    <a:pt x="211" y="322"/>
                  </a:lnTo>
                  <a:lnTo>
                    <a:pt x="209" y="319"/>
                  </a:lnTo>
                  <a:lnTo>
                    <a:pt x="206" y="316"/>
                  </a:lnTo>
                  <a:lnTo>
                    <a:pt x="206" y="314"/>
                  </a:lnTo>
                  <a:lnTo>
                    <a:pt x="207" y="311"/>
                  </a:lnTo>
                  <a:lnTo>
                    <a:pt x="211" y="302"/>
                  </a:lnTo>
                  <a:lnTo>
                    <a:pt x="211" y="302"/>
                  </a:lnTo>
                  <a:lnTo>
                    <a:pt x="212" y="280"/>
                  </a:lnTo>
                  <a:lnTo>
                    <a:pt x="214" y="263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32"/>
                  </a:lnTo>
                  <a:lnTo>
                    <a:pt x="212" y="223"/>
                  </a:lnTo>
                  <a:lnTo>
                    <a:pt x="212" y="217"/>
                  </a:lnTo>
                  <a:lnTo>
                    <a:pt x="212" y="217"/>
                  </a:lnTo>
                  <a:lnTo>
                    <a:pt x="211" y="166"/>
                  </a:lnTo>
                  <a:lnTo>
                    <a:pt x="211" y="166"/>
                  </a:lnTo>
                  <a:lnTo>
                    <a:pt x="205" y="165"/>
                  </a:lnTo>
                  <a:lnTo>
                    <a:pt x="199" y="162"/>
                  </a:lnTo>
                  <a:lnTo>
                    <a:pt x="190" y="157"/>
                  </a:lnTo>
                  <a:lnTo>
                    <a:pt x="184" y="152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4" y="147"/>
                  </a:lnTo>
                  <a:lnTo>
                    <a:pt x="171" y="144"/>
                  </a:lnTo>
                  <a:lnTo>
                    <a:pt x="167" y="140"/>
                  </a:lnTo>
                  <a:lnTo>
                    <a:pt x="167" y="128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6" y="110"/>
                  </a:lnTo>
                  <a:lnTo>
                    <a:pt x="177" y="104"/>
                  </a:lnTo>
                  <a:lnTo>
                    <a:pt x="176" y="97"/>
                  </a:lnTo>
                  <a:lnTo>
                    <a:pt x="176" y="97"/>
                  </a:lnTo>
                  <a:lnTo>
                    <a:pt x="176" y="94"/>
                  </a:lnTo>
                  <a:lnTo>
                    <a:pt x="176" y="88"/>
                  </a:lnTo>
                  <a:lnTo>
                    <a:pt x="177" y="83"/>
                  </a:lnTo>
                  <a:lnTo>
                    <a:pt x="181" y="81"/>
                  </a:lnTo>
                  <a:lnTo>
                    <a:pt x="181" y="81"/>
                  </a:lnTo>
                  <a:lnTo>
                    <a:pt x="181" y="77"/>
                  </a:lnTo>
                  <a:lnTo>
                    <a:pt x="183" y="73"/>
                  </a:lnTo>
                  <a:lnTo>
                    <a:pt x="181" y="70"/>
                  </a:lnTo>
                  <a:lnTo>
                    <a:pt x="181" y="70"/>
                  </a:lnTo>
                  <a:lnTo>
                    <a:pt x="183" y="65"/>
                  </a:lnTo>
                  <a:lnTo>
                    <a:pt x="185" y="60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3" y="35"/>
                  </a:lnTo>
                  <a:lnTo>
                    <a:pt x="177" y="35"/>
                  </a:lnTo>
                  <a:lnTo>
                    <a:pt x="170" y="26"/>
                  </a:lnTo>
                  <a:lnTo>
                    <a:pt x="164" y="18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262" y="4"/>
                  </a:lnTo>
                  <a:lnTo>
                    <a:pt x="343" y="3"/>
                  </a:lnTo>
                  <a:lnTo>
                    <a:pt x="381" y="1"/>
                  </a:lnTo>
                  <a:lnTo>
                    <a:pt x="412" y="0"/>
                  </a:lnTo>
                  <a:lnTo>
                    <a:pt x="416" y="0"/>
                  </a:lnTo>
                  <a:lnTo>
                    <a:pt x="421" y="11"/>
                  </a:lnTo>
                  <a:lnTo>
                    <a:pt x="443" y="44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61" y="103"/>
                  </a:lnTo>
                  <a:lnTo>
                    <a:pt x="470" y="122"/>
                  </a:lnTo>
                  <a:lnTo>
                    <a:pt x="479" y="148"/>
                  </a:lnTo>
                  <a:lnTo>
                    <a:pt x="485" y="162"/>
                  </a:lnTo>
                  <a:lnTo>
                    <a:pt x="486" y="175"/>
                  </a:lnTo>
                  <a:lnTo>
                    <a:pt x="486" y="175"/>
                  </a:lnTo>
                  <a:lnTo>
                    <a:pt x="488" y="186"/>
                  </a:lnTo>
                  <a:lnTo>
                    <a:pt x="492" y="197"/>
                  </a:lnTo>
                  <a:lnTo>
                    <a:pt x="492" y="197"/>
                  </a:lnTo>
                  <a:lnTo>
                    <a:pt x="495" y="202"/>
                  </a:lnTo>
                  <a:lnTo>
                    <a:pt x="498" y="206"/>
                  </a:lnTo>
                  <a:lnTo>
                    <a:pt x="501" y="213"/>
                  </a:lnTo>
                  <a:lnTo>
                    <a:pt x="504" y="224"/>
                  </a:lnTo>
                  <a:lnTo>
                    <a:pt x="504" y="224"/>
                  </a:lnTo>
                  <a:lnTo>
                    <a:pt x="529" y="348"/>
                  </a:lnTo>
                  <a:lnTo>
                    <a:pt x="529" y="348"/>
                  </a:lnTo>
                  <a:lnTo>
                    <a:pt x="526" y="353"/>
                  </a:lnTo>
                  <a:lnTo>
                    <a:pt x="523" y="359"/>
                  </a:lnTo>
                  <a:lnTo>
                    <a:pt x="520" y="367"/>
                  </a:lnTo>
                  <a:lnTo>
                    <a:pt x="514" y="373"/>
                  </a:lnTo>
                  <a:lnTo>
                    <a:pt x="514" y="373"/>
                  </a:lnTo>
                  <a:lnTo>
                    <a:pt x="518" y="381"/>
                  </a:lnTo>
                  <a:lnTo>
                    <a:pt x="513" y="393"/>
                  </a:lnTo>
                  <a:lnTo>
                    <a:pt x="512" y="412"/>
                  </a:lnTo>
                  <a:lnTo>
                    <a:pt x="512" y="412"/>
                  </a:lnTo>
                  <a:lnTo>
                    <a:pt x="512" y="419"/>
                  </a:lnTo>
                  <a:lnTo>
                    <a:pt x="512" y="424"/>
                  </a:lnTo>
                  <a:lnTo>
                    <a:pt x="510" y="427"/>
                  </a:lnTo>
                  <a:lnTo>
                    <a:pt x="509" y="429"/>
                  </a:lnTo>
                  <a:lnTo>
                    <a:pt x="509" y="429"/>
                  </a:lnTo>
                  <a:lnTo>
                    <a:pt x="504" y="436"/>
                  </a:lnTo>
                  <a:lnTo>
                    <a:pt x="501" y="443"/>
                  </a:lnTo>
                  <a:lnTo>
                    <a:pt x="499" y="452"/>
                  </a:lnTo>
                  <a:lnTo>
                    <a:pt x="499" y="452"/>
                  </a:lnTo>
                  <a:lnTo>
                    <a:pt x="498" y="460"/>
                  </a:lnTo>
                  <a:lnTo>
                    <a:pt x="495" y="467"/>
                  </a:lnTo>
                  <a:lnTo>
                    <a:pt x="494" y="471"/>
                  </a:lnTo>
                  <a:lnTo>
                    <a:pt x="491" y="473"/>
                  </a:lnTo>
                  <a:lnTo>
                    <a:pt x="491" y="473"/>
                  </a:lnTo>
                  <a:lnTo>
                    <a:pt x="488" y="476"/>
                  </a:lnTo>
                  <a:lnTo>
                    <a:pt x="485" y="480"/>
                  </a:lnTo>
                  <a:lnTo>
                    <a:pt x="482" y="482"/>
                  </a:lnTo>
                  <a:lnTo>
                    <a:pt x="482" y="485"/>
                  </a:lnTo>
                  <a:lnTo>
                    <a:pt x="482" y="486"/>
                  </a:lnTo>
                  <a:lnTo>
                    <a:pt x="482" y="486"/>
                  </a:lnTo>
                  <a:lnTo>
                    <a:pt x="485" y="487"/>
                  </a:lnTo>
                  <a:lnTo>
                    <a:pt x="488" y="489"/>
                  </a:lnTo>
                  <a:lnTo>
                    <a:pt x="496" y="491"/>
                  </a:lnTo>
                  <a:lnTo>
                    <a:pt x="496" y="491"/>
                  </a:lnTo>
                  <a:lnTo>
                    <a:pt x="496" y="494"/>
                  </a:lnTo>
                  <a:lnTo>
                    <a:pt x="495" y="498"/>
                  </a:lnTo>
                  <a:lnTo>
                    <a:pt x="495" y="504"/>
                  </a:lnTo>
                  <a:lnTo>
                    <a:pt x="498" y="511"/>
                  </a:lnTo>
                  <a:lnTo>
                    <a:pt x="498" y="511"/>
                  </a:lnTo>
                  <a:lnTo>
                    <a:pt x="500" y="512"/>
                  </a:lnTo>
                  <a:lnTo>
                    <a:pt x="503" y="512"/>
                  </a:lnTo>
                  <a:lnTo>
                    <a:pt x="510" y="512"/>
                  </a:lnTo>
                  <a:lnTo>
                    <a:pt x="510" y="512"/>
                  </a:lnTo>
                  <a:lnTo>
                    <a:pt x="510" y="516"/>
                  </a:lnTo>
                  <a:lnTo>
                    <a:pt x="512" y="519"/>
                  </a:lnTo>
                  <a:lnTo>
                    <a:pt x="514" y="520"/>
                  </a:lnTo>
                  <a:lnTo>
                    <a:pt x="516" y="520"/>
                  </a:lnTo>
                  <a:lnTo>
                    <a:pt x="518" y="520"/>
                  </a:lnTo>
                  <a:lnTo>
                    <a:pt x="521" y="520"/>
                  </a:lnTo>
                  <a:lnTo>
                    <a:pt x="521" y="520"/>
                  </a:lnTo>
                  <a:lnTo>
                    <a:pt x="525" y="522"/>
                  </a:lnTo>
                  <a:lnTo>
                    <a:pt x="527" y="524"/>
                  </a:lnTo>
                  <a:lnTo>
                    <a:pt x="535" y="522"/>
                  </a:lnTo>
                  <a:lnTo>
                    <a:pt x="535" y="522"/>
                  </a:lnTo>
                  <a:lnTo>
                    <a:pt x="539" y="520"/>
                  </a:lnTo>
                  <a:lnTo>
                    <a:pt x="543" y="519"/>
                  </a:lnTo>
                  <a:lnTo>
                    <a:pt x="544" y="520"/>
                  </a:lnTo>
                  <a:lnTo>
                    <a:pt x="547" y="521"/>
                  </a:lnTo>
                  <a:lnTo>
                    <a:pt x="548" y="528"/>
                  </a:lnTo>
                  <a:lnTo>
                    <a:pt x="548" y="528"/>
                  </a:lnTo>
                  <a:lnTo>
                    <a:pt x="551" y="529"/>
                  </a:lnTo>
                  <a:lnTo>
                    <a:pt x="553" y="529"/>
                  </a:lnTo>
                  <a:lnTo>
                    <a:pt x="557" y="529"/>
                  </a:lnTo>
                  <a:lnTo>
                    <a:pt x="562" y="532"/>
                  </a:lnTo>
                  <a:lnTo>
                    <a:pt x="562" y="532"/>
                  </a:lnTo>
                  <a:lnTo>
                    <a:pt x="564" y="530"/>
                  </a:lnTo>
                  <a:lnTo>
                    <a:pt x="567" y="532"/>
                  </a:lnTo>
                  <a:lnTo>
                    <a:pt x="570" y="533"/>
                  </a:lnTo>
                  <a:lnTo>
                    <a:pt x="571" y="534"/>
                  </a:lnTo>
                  <a:lnTo>
                    <a:pt x="571" y="537"/>
                  </a:lnTo>
                  <a:lnTo>
                    <a:pt x="571" y="541"/>
                  </a:lnTo>
                  <a:lnTo>
                    <a:pt x="571" y="541"/>
                  </a:lnTo>
                  <a:lnTo>
                    <a:pt x="571" y="544"/>
                  </a:lnTo>
                  <a:lnTo>
                    <a:pt x="574" y="547"/>
                  </a:lnTo>
                  <a:lnTo>
                    <a:pt x="577" y="550"/>
                  </a:lnTo>
                  <a:lnTo>
                    <a:pt x="579" y="551"/>
                  </a:lnTo>
                  <a:lnTo>
                    <a:pt x="579" y="551"/>
                  </a:lnTo>
                  <a:lnTo>
                    <a:pt x="582" y="550"/>
                  </a:lnTo>
                  <a:lnTo>
                    <a:pt x="584" y="550"/>
                  </a:lnTo>
                  <a:lnTo>
                    <a:pt x="587" y="552"/>
                  </a:lnTo>
                  <a:lnTo>
                    <a:pt x="587" y="555"/>
                  </a:lnTo>
                  <a:lnTo>
                    <a:pt x="587" y="555"/>
                  </a:lnTo>
                  <a:lnTo>
                    <a:pt x="584" y="559"/>
                  </a:lnTo>
                  <a:lnTo>
                    <a:pt x="583" y="560"/>
                  </a:lnTo>
                  <a:lnTo>
                    <a:pt x="584" y="561"/>
                  </a:lnTo>
                  <a:lnTo>
                    <a:pt x="587" y="561"/>
                  </a:lnTo>
                  <a:lnTo>
                    <a:pt x="587" y="561"/>
                  </a:lnTo>
                  <a:lnTo>
                    <a:pt x="590" y="565"/>
                  </a:lnTo>
                  <a:lnTo>
                    <a:pt x="590" y="569"/>
                  </a:lnTo>
                  <a:lnTo>
                    <a:pt x="590" y="573"/>
                  </a:lnTo>
                  <a:lnTo>
                    <a:pt x="592" y="576"/>
                  </a:lnTo>
                  <a:lnTo>
                    <a:pt x="592" y="576"/>
                  </a:lnTo>
                  <a:lnTo>
                    <a:pt x="593" y="577"/>
                  </a:lnTo>
                  <a:lnTo>
                    <a:pt x="595" y="579"/>
                  </a:lnTo>
                  <a:lnTo>
                    <a:pt x="595" y="590"/>
                  </a:lnTo>
                  <a:lnTo>
                    <a:pt x="595" y="590"/>
                  </a:lnTo>
                  <a:lnTo>
                    <a:pt x="593" y="592"/>
                  </a:lnTo>
                  <a:lnTo>
                    <a:pt x="592" y="595"/>
                  </a:lnTo>
                  <a:lnTo>
                    <a:pt x="593" y="600"/>
                  </a:lnTo>
                  <a:lnTo>
                    <a:pt x="596" y="604"/>
                  </a:lnTo>
                  <a:lnTo>
                    <a:pt x="597" y="605"/>
                  </a:lnTo>
                  <a:lnTo>
                    <a:pt x="597" y="608"/>
                  </a:lnTo>
                  <a:lnTo>
                    <a:pt x="597" y="608"/>
                  </a:lnTo>
                  <a:lnTo>
                    <a:pt x="595" y="612"/>
                  </a:lnTo>
                  <a:lnTo>
                    <a:pt x="593" y="614"/>
                  </a:lnTo>
                  <a:lnTo>
                    <a:pt x="593" y="614"/>
                  </a:lnTo>
                  <a:lnTo>
                    <a:pt x="601" y="620"/>
                  </a:lnTo>
                  <a:lnTo>
                    <a:pt x="601" y="620"/>
                  </a:lnTo>
                  <a:lnTo>
                    <a:pt x="605" y="620"/>
                  </a:lnTo>
                  <a:lnTo>
                    <a:pt x="609" y="620"/>
                  </a:lnTo>
                  <a:lnTo>
                    <a:pt x="613" y="622"/>
                  </a:lnTo>
                  <a:lnTo>
                    <a:pt x="613" y="622"/>
                  </a:lnTo>
                  <a:lnTo>
                    <a:pt x="617" y="624"/>
                  </a:lnTo>
                  <a:lnTo>
                    <a:pt x="621" y="626"/>
                  </a:lnTo>
                  <a:lnTo>
                    <a:pt x="623" y="631"/>
                  </a:lnTo>
                  <a:lnTo>
                    <a:pt x="623" y="631"/>
                  </a:lnTo>
                  <a:lnTo>
                    <a:pt x="631" y="634"/>
                  </a:lnTo>
                  <a:lnTo>
                    <a:pt x="632" y="635"/>
                  </a:lnTo>
                  <a:lnTo>
                    <a:pt x="632" y="638"/>
                  </a:lnTo>
                  <a:lnTo>
                    <a:pt x="632" y="638"/>
                  </a:lnTo>
                  <a:lnTo>
                    <a:pt x="637" y="640"/>
                  </a:lnTo>
                  <a:lnTo>
                    <a:pt x="647" y="647"/>
                  </a:lnTo>
                  <a:lnTo>
                    <a:pt x="652" y="652"/>
                  </a:lnTo>
                  <a:lnTo>
                    <a:pt x="657" y="657"/>
                  </a:lnTo>
                  <a:lnTo>
                    <a:pt x="659" y="662"/>
                  </a:lnTo>
                  <a:lnTo>
                    <a:pt x="662" y="669"/>
                  </a:lnTo>
                  <a:lnTo>
                    <a:pt x="662" y="669"/>
                  </a:lnTo>
                  <a:lnTo>
                    <a:pt x="670" y="668"/>
                  </a:lnTo>
                  <a:lnTo>
                    <a:pt x="675" y="668"/>
                  </a:lnTo>
                  <a:lnTo>
                    <a:pt x="678" y="668"/>
                  </a:lnTo>
                  <a:lnTo>
                    <a:pt x="679" y="669"/>
                  </a:lnTo>
                  <a:lnTo>
                    <a:pt x="679" y="669"/>
                  </a:lnTo>
                  <a:lnTo>
                    <a:pt x="679" y="674"/>
                  </a:lnTo>
                  <a:lnTo>
                    <a:pt x="680" y="681"/>
                  </a:lnTo>
                  <a:lnTo>
                    <a:pt x="682" y="684"/>
                  </a:lnTo>
                  <a:lnTo>
                    <a:pt x="684" y="687"/>
                  </a:lnTo>
                  <a:lnTo>
                    <a:pt x="687" y="690"/>
                  </a:lnTo>
                  <a:lnTo>
                    <a:pt x="691" y="691"/>
                  </a:lnTo>
                  <a:lnTo>
                    <a:pt x="691" y="691"/>
                  </a:lnTo>
                  <a:lnTo>
                    <a:pt x="693" y="697"/>
                  </a:lnTo>
                  <a:lnTo>
                    <a:pt x="696" y="704"/>
                  </a:lnTo>
                  <a:lnTo>
                    <a:pt x="696" y="708"/>
                  </a:lnTo>
                  <a:lnTo>
                    <a:pt x="696" y="710"/>
                  </a:lnTo>
                  <a:lnTo>
                    <a:pt x="693" y="713"/>
                  </a:lnTo>
                  <a:lnTo>
                    <a:pt x="689" y="714"/>
                  </a:lnTo>
                  <a:lnTo>
                    <a:pt x="689" y="714"/>
                  </a:lnTo>
                  <a:lnTo>
                    <a:pt x="682" y="714"/>
                  </a:lnTo>
                  <a:lnTo>
                    <a:pt x="676" y="714"/>
                  </a:lnTo>
                  <a:lnTo>
                    <a:pt x="674" y="716"/>
                  </a:lnTo>
                  <a:lnTo>
                    <a:pt x="672" y="717"/>
                  </a:lnTo>
                  <a:lnTo>
                    <a:pt x="671" y="723"/>
                  </a:lnTo>
                  <a:lnTo>
                    <a:pt x="671" y="723"/>
                  </a:lnTo>
                  <a:lnTo>
                    <a:pt x="669" y="729"/>
                  </a:lnTo>
                  <a:lnTo>
                    <a:pt x="666" y="734"/>
                  </a:lnTo>
                  <a:lnTo>
                    <a:pt x="665" y="740"/>
                  </a:lnTo>
                  <a:lnTo>
                    <a:pt x="663" y="745"/>
                  </a:lnTo>
                  <a:lnTo>
                    <a:pt x="662" y="748"/>
                  </a:lnTo>
                  <a:lnTo>
                    <a:pt x="658" y="751"/>
                  </a:lnTo>
                  <a:lnTo>
                    <a:pt x="658" y="751"/>
                  </a:lnTo>
                  <a:lnTo>
                    <a:pt x="654" y="751"/>
                  </a:lnTo>
                  <a:lnTo>
                    <a:pt x="650" y="749"/>
                  </a:lnTo>
                  <a:lnTo>
                    <a:pt x="649" y="747"/>
                  </a:lnTo>
                  <a:lnTo>
                    <a:pt x="648" y="744"/>
                  </a:lnTo>
                  <a:lnTo>
                    <a:pt x="645" y="741"/>
                  </a:lnTo>
                  <a:lnTo>
                    <a:pt x="643" y="740"/>
                  </a:lnTo>
                  <a:lnTo>
                    <a:pt x="639" y="739"/>
                  </a:lnTo>
                  <a:lnTo>
                    <a:pt x="632" y="740"/>
                  </a:lnTo>
                  <a:lnTo>
                    <a:pt x="632" y="740"/>
                  </a:lnTo>
                  <a:lnTo>
                    <a:pt x="627" y="739"/>
                  </a:lnTo>
                  <a:lnTo>
                    <a:pt x="623" y="740"/>
                  </a:lnTo>
                  <a:lnTo>
                    <a:pt x="619" y="741"/>
                  </a:lnTo>
                  <a:lnTo>
                    <a:pt x="618" y="744"/>
                  </a:lnTo>
                  <a:lnTo>
                    <a:pt x="615" y="747"/>
                  </a:lnTo>
                  <a:lnTo>
                    <a:pt x="615" y="749"/>
                  </a:lnTo>
                  <a:lnTo>
                    <a:pt x="615" y="753"/>
                  </a:lnTo>
                  <a:lnTo>
                    <a:pt x="617" y="756"/>
                  </a:lnTo>
                  <a:lnTo>
                    <a:pt x="617" y="756"/>
                  </a:lnTo>
                  <a:lnTo>
                    <a:pt x="615" y="757"/>
                  </a:lnTo>
                  <a:lnTo>
                    <a:pt x="614" y="760"/>
                  </a:lnTo>
                  <a:lnTo>
                    <a:pt x="608" y="763"/>
                  </a:lnTo>
                  <a:lnTo>
                    <a:pt x="605" y="766"/>
                  </a:lnTo>
                  <a:lnTo>
                    <a:pt x="601" y="770"/>
                  </a:lnTo>
                  <a:lnTo>
                    <a:pt x="599" y="776"/>
                  </a:lnTo>
                  <a:lnTo>
                    <a:pt x="595" y="784"/>
                  </a:lnTo>
                  <a:lnTo>
                    <a:pt x="595" y="784"/>
                  </a:lnTo>
                  <a:lnTo>
                    <a:pt x="583" y="789"/>
                  </a:lnTo>
                  <a:lnTo>
                    <a:pt x="575" y="796"/>
                  </a:lnTo>
                  <a:lnTo>
                    <a:pt x="569" y="802"/>
                  </a:lnTo>
                  <a:lnTo>
                    <a:pt x="565" y="809"/>
                  </a:lnTo>
                  <a:lnTo>
                    <a:pt x="565" y="809"/>
                  </a:lnTo>
                  <a:lnTo>
                    <a:pt x="558" y="811"/>
                  </a:lnTo>
                  <a:lnTo>
                    <a:pt x="553" y="813"/>
                  </a:lnTo>
                  <a:lnTo>
                    <a:pt x="548" y="811"/>
                  </a:lnTo>
                  <a:lnTo>
                    <a:pt x="548" y="811"/>
                  </a:lnTo>
                  <a:lnTo>
                    <a:pt x="510" y="827"/>
                  </a:lnTo>
                  <a:lnTo>
                    <a:pt x="510" y="827"/>
                  </a:lnTo>
                  <a:lnTo>
                    <a:pt x="509" y="831"/>
                  </a:lnTo>
                  <a:lnTo>
                    <a:pt x="507" y="837"/>
                  </a:lnTo>
                  <a:lnTo>
                    <a:pt x="505" y="840"/>
                  </a:lnTo>
                  <a:lnTo>
                    <a:pt x="503" y="843"/>
                  </a:lnTo>
                  <a:lnTo>
                    <a:pt x="499" y="844"/>
                  </a:lnTo>
                  <a:lnTo>
                    <a:pt x="495" y="843"/>
                  </a:lnTo>
                  <a:lnTo>
                    <a:pt x="495" y="843"/>
                  </a:lnTo>
                  <a:lnTo>
                    <a:pt x="490" y="844"/>
                  </a:lnTo>
                  <a:lnTo>
                    <a:pt x="486" y="846"/>
                  </a:lnTo>
                  <a:lnTo>
                    <a:pt x="485" y="849"/>
                  </a:lnTo>
                  <a:lnTo>
                    <a:pt x="485" y="852"/>
                  </a:lnTo>
                  <a:lnTo>
                    <a:pt x="486" y="854"/>
                  </a:lnTo>
                  <a:lnTo>
                    <a:pt x="491" y="857"/>
                  </a:lnTo>
                  <a:lnTo>
                    <a:pt x="491" y="857"/>
                  </a:lnTo>
                  <a:lnTo>
                    <a:pt x="491" y="865"/>
                  </a:lnTo>
                  <a:lnTo>
                    <a:pt x="463" y="865"/>
                  </a:lnTo>
                  <a:lnTo>
                    <a:pt x="463" y="865"/>
                  </a:lnTo>
                  <a:lnTo>
                    <a:pt x="443" y="879"/>
                  </a:lnTo>
                  <a:lnTo>
                    <a:pt x="443" y="879"/>
                  </a:lnTo>
                  <a:lnTo>
                    <a:pt x="439" y="883"/>
                  </a:lnTo>
                  <a:lnTo>
                    <a:pt x="437" y="888"/>
                  </a:lnTo>
                  <a:lnTo>
                    <a:pt x="434" y="893"/>
                  </a:lnTo>
                  <a:lnTo>
                    <a:pt x="433" y="898"/>
                  </a:lnTo>
                  <a:lnTo>
                    <a:pt x="431" y="906"/>
                  </a:lnTo>
                  <a:lnTo>
                    <a:pt x="431" y="910"/>
                  </a:lnTo>
                  <a:lnTo>
                    <a:pt x="404" y="931"/>
                  </a:lnTo>
                  <a:lnTo>
                    <a:pt x="404" y="931"/>
                  </a:lnTo>
                  <a:lnTo>
                    <a:pt x="400" y="933"/>
                  </a:lnTo>
                  <a:lnTo>
                    <a:pt x="394" y="940"/>
                  </a:lnTo>
                  <a:lnTo>
                    <a:pt x="391" y="944"/>
                  </a:lnTo>
                  <a:lnTo>
                    <a:pt x="390" y="948"/>
                  </a:lnTo>
                  <a:lnTo>
                    <a:pt x="391" y="950"/>
                  </a:lnTo>
                  <a:lnTo>
                    <a:pt x="396" y="951"/>
                  </a:lnTo>
                  <a:lnTo>
                    <a:pt x="396" y="951"/>
                  </a:lnTo>
                  <a:lnTo>
                    <a:pt x="395" y="957"/>
                  </a:lnTo>
                  <a:lnTo>
                    <a:pt x="391" y="962"/>
                  </a:lnTo>
                  <a:lnTo>
                    <a:pt x="389" y="964"/>
                  </a:lnTo>
                  <a:lnTo>
                    <a:pt x="386" y="964"/>
                  </a:lnTo>
                  <a:lnTo>
                    <a:pt x="383" y="963"/>
                  </a:lnTo>
                  <a:lnTo>
                    <a:pt x="380" y="959"/>
                  </a:lnTo>
                  <a:lnTo>
                    <a:pt x="380" y="959"/>
                  </a:lnTo>
                  <a:lnTo>
                    <a:pt x="380" y="958"/>
                  </a:lnTo>
                  <a:lnTo>
                    <a:pt x="380" y="957"/>
                  </a:lnTo>
                  <a:lnTo>
                    <a:pt x="380" y="955"/>
                  </a:lnTo>
                  <a:lnTo>
                    <a:pt x="378" y="954"/>
                  </a:lnTo>
                  <a:lnTo>
                    <a:pt x="378" y="954"/>
                  </a:lnTo>
                  <a:lnTo>
                    <a:pt x="374" y="955"/>
                  </a:lnTo>
                  <a:lnTo>
                    <a:pt x="372" y="955"/>
                  </a:lnTo>
                  <a:lnTo>
                    <a:pt x="367" y="954"/>
                  </a:lnTo>
                  <a:lnTo>
                    <a:pt x="367" y="954"/>
                  </a:lnTo>
                  <a:lnTo>
                    <a:pt x="364" y="954"/>
                  </a:lnTo>
                  <a:lnTo>
                    <a:pt x="361" y="954"/>
                  </a:lnTo>
                  <a:lnTo>
                    <a:pt x="361" y="955"/>
                  </a:lnTo>
                  <a:lnTo>
                    <a:pt x="361" y="957"/>
                  </a:lnTo>
                  <a:lnTo>
                    <a:pt x="364" y="963"/>
                  </a:lnTo>
                  <a:lnTo>
                    <a:pt x="364" y="963"/>
                  </a:lnTo>
                  <a:lnTo>
                    <a:pt x="365" y="964"/>
                  </a:lnTo>
                  <a:lnTo>
                    <a:pt x="368" y="966"/>
                  </a:lnTo>
                  <a:lnTo>
                    <a:pt x="371" y="967"/>
                  </a:lnTo>
                  <a:lnTo>
                    <a:pt x="371" y="967"/>
                  </a:lnTo>
                  <a:lnTo>
                    <a:pt x="373" y="971"/>
                  </a:lnTo>
                  <a:lnTo>
                    <a:pt x="373" y="973"/>
                  </a:lnTo>
                  <a:lnTo>
                    <a:pt x="374" y="981"/>
                  </a:lnTo>
                  <a:lnTo>
                    <a:pt x="374" y="992"/>
                  </a:lnTo>
                  <a:lnTo>
                    <a:pt x="377" y="1003"/>
                  </a:lnTo>
                  <a:lnTo>
                    <a:pt x="377" y="1003"/>
                  </a:lnTo>
                  <a:lnTo>
                    <a:pt x="377" y="1007"/>
                  </a:lnTo>
                  <a:lnTo>
                    <a:pt x="380" y="1008"/>
                  </a:lnTo>
                  <a:lnTo>
                    <a:pt x="383" y="1014"/>
                  </a:lnTo>
                  <a:lnTo>
                    <a:pt x="386" y="1019"/>
                  </a:lnTo>
                  <a:lnTo>
                    <a:pt x="387" y="1023"/>
                  </a:lnTo>
                  <a:lnTo>
                    <a:pt x="387" y="1028"/>
                  </a:lnTo>
                  <a:lnTo>
                    <a:pt x="387" y="1028"/>
                  </a:lnTo>
                  <a:lnTo>
                    <a:pt x="381" y="1033"/>
                  </a:lnTo>
                  <a:lnTo>
                    <a:pt x="376" y="1036"/>
                  </a:lnTo>
                  <a:lnTo>
                    <a:pt x="369" y="1037"/>
                  </a:lnTo>
                  <a:lnTo>
                    <a:pt x="359" y="1038"/>
                  </a:lnTo>
                  <a:lnTo>
                    <a:pt x="359" y="1038"/>
                  </a:lnTo>
                  <a:lnTo>
                    <a:pt x="339" y="1025"/>
                  </a:lnTo>
                  <a:lnTo>
                    <a:pt x="315" y="1010"/>
                  </a:lnTo>
                  <a:lnTo>
                    <a:pt x="315" y="1010"/>
                  </a:lnTo>
                  <a:lnTo>
                    <a:pt x="307" y="1001"/>
                  </a:lnTo>
                  <a:lnTo>
                    <a:pt x="299" y="995"/>
                  </a:lnTo>
                  <a:lnTo>
                    <a:pt x="294" y="993"/>
                  </a:lnTo>
                  <a:lnTo>
                    <a:pt x="289" y="993"/>
                  </a:lnTo>
                  <a:lnTo>
                    <a:pt x="289" y="993"/>
                  </a:lnTo>
                  <a:lnTo>
                    <a:pt x="285" y="989"/>
                  </a:lnTo>
                  <a:lnTo>
                    <a:pt x="284" y="985"/>
                  </a:lnTo>
                  <a:lnTo>
                    <a:pt x="284" y="984"/>
                  </a:lnTo>
                  <a:lnTo>
                    <a:pt x="285" y="983"/>
                  </a:lnTo>
                  <a:lnTo>
                    <a:pt x="285" y="983"/>
                  </a:lnTo>
                  <a:lnTo>
                    <a:pt x="286" y="981"/>
                  </a:lnTo>
                  <a:lnTo>
                    <a:pt x="288" y="981"/>
                  </a:lnTo>
                  <a:lnTo>
                    <a:pt x="290" y="985"/>
                  </a:lnTo>
                  <a:lnTo>
                    <a:pt x="291" y="986"/>
                  </a:lnTo>
                  <a:lnTo>
                    <a:pt x="293" y="984"/>
                  </a:lnTo>
                  <a:lnTo>
                    <a:pt x="295" y="979"/>
                  </a:lnTo>
                  <a:lnTo>
                    <a:pt x="298" y="970"/>
                  </a:lnTo>
                  <a:lnTo>
                    <a:pt x="298" y="970"/>
                  </a:lnTo>
                  <a:lnTo>
                    <a:pt x="299" y="967"/>
                  </a:lnTo>
                  <a:lnTo>
                    <a:pt x="299" y="964"/>
                  </a:lnTo>
                  <a:lnTo>
                    <a:pt x="301" y="960"/>
                  </a:lnTo>
                  <a:lnTo>
                    <a:pt x="299" y="955"/>
                  </a:lnTo>
                  <a:lnTo>
                    <a:pt x="299" y="953"/>
                  </a:lnTo>
                  <a:lnTo>
                    <a:pt x="299" y="953"/>
                  </a:lnTo>
                  <a:lnTo>
                    <a:pt x="302" y="951"/>
                  </a:lnTo>
                  <a:lnTo>
                    <a:pt x="304" y="950"/>
                  </a:lnTo>
                  <a:lnTo>
                    <a:pt x="307" y="949"/>
                  </a:lnTo>
                  <a:lnTo>
                    <a:pt x="308" y="948"/>
                  </a:lnTo>
                  <a:lnTo>
                    <a:pt x="308" y="948"/>
                  </a:lnTo>
                  <a:lnTo>
                    <a:pt x="307" y="946"/>
                  </a:lnTo>
                  <a:lnTo>
                    <a:pt x="304" y="944"/>
                  </a:lnTo>
                  <a:lnTo>
                    <a:pt x="302" y="942"/>
                  </a:lnTo>
                  <a:lnTo>
                    <a:pt x="299" y="942"/>
                  </a:lnTo>
                  <a:lnTo>
                    <a:pt x="299" y="942"/>
                  </a:lnTo>
                  <a:lnTo>
                    <a:pt x="289" y="955"/>
                  </a:lnTo>
                  <a:lnTo>
                    <a:pt x="289" y="955"/>
                  </a:lnTo>
                  <a:lnTo>
                    <a:pt x="285" y="950"/>
                  </a:lnTo>
                  <a:lnTo>
                    <a:pt x="284" y="946"/>
                  </a:lnTo>
                  <a:lnTo>
                    <a:pt x="282" y="942"/>
                  </a:lnTo>
                  <a:lnTo>
                    <a:pt x="282" y="940"/>
                  </a:lnTo>
                  <a:lnTo>
                    <a:pt x="284" y="935"/>
                  </a:lnTo>
                  <a:lnTo>
                    <a:pt x="284" y="933"/>
                  </a:lnTo>
                  <a:lnTo>
                    <a:pt x="282" y="931"/>
                  </a:lnTo>
                  <a:lnTo>
                    <a:pt x="282" y="931"/>
                  </a:lnTo>
                  <a:lnTo>
                    <a:pt x="280" y="927"/>
                  </a:lnTo>
                  <a:lnTo>
                    <a:pt x="276" y="927"/>
                  </a:lnTo>
                  <a:lnTo>
                    <a:pt x="273" y="928"/>
                  </a:lnTo>
                  <a:lnTo>
                    <a:pt x="271" y="929"/>
                  </a:lnTo>
                  <a:lnTo>
                    <a:pt x="268" y="931"/>
                  </a:lnTo>
                  <a:lnTo>
                    <a:pt x="264" y="929"/>
                  </a:lnTo>
                  <a:lnTo>
                    <a:pt x="259" y="927"/>
                  </a:lnTo>
                  <a:lnTo>
                    <a:pt x="254" y="920"/>
                  </a:lnTo>
                  <a:lnTo>
                    <a:pt x="254" y="920"/>
                  </a:lnTo>
                  <a:lnTo>
                    <a:pt x="250" y="922"/>
                  </a:lnTo>
                  <a:lnTo>
                    <a:pt x="245" y="924"/>
                  </a:lnTo>
                  <a:lnTo>
                    <a:pt x="240" y="925"/>
                  </a:lnTo>
                  <a:lnTo>
                    <a:pt x="237" y="925"/>
                  </a:lnTo>
                  <a:lnTo>
                    <a:pt x="236" y="925"/>
                  </a:lnTo>
                  <a:lnTo>
                    <a:pt x="236" y="925"/>
                  </a:lnTo>
                  <a:lnTo>
                    <a:pt x="232" y="924"/>
                  </a:lnTo>
                  <a:lnTo>
                    <a:pt x="228" y="924"/>
                  </a:lnTo>
                  <a:lnTo>
                    <a:pt x="216" y="927"/>
                  </a:lnTo>
                  <a:lnTo>
                    <a:pt x="202" y="932"/>
                  </a:lnTo>
                  <a:lnTo>
                    <a:pt x="101" y="931"/>
                  </a:lnTo>
                  <a:lnTo>
                    <a:pt x="101" y="931"/>
                  </a:lnTo>
                  <a:lnTo>
                    <a:pt x="89" y="879"/>
                  </a:lnTo>
                  <a:lnTo>
                    <a:pt x="80" y="833"/>
                  </a:lnTo>
                  <a:lnTo>
                    <a:pt x="78" y="810"/>
                  </a:lnTo>
                  <a:lnTo>
                    <a:pt x="76" y="791"/>
                  </a:lnTo>
                  <a:lnTo>
                    <a:pt x="76" y="791"/>
                  </a:lnTo>
                  <a:lnTo>
                    <a:pt x="0" y="778"/>
                  </a:lnTo>
                  <a:lnTo>
                    <a:pt x="1" y="696"/>
                  </a:lnTo>
                  <a:lnTo>
                    <a:pt x="1" y="696"/>
                  </a:lnTo>
                  <a:lnTo>
                    <a:pt x="6" y="697"/>
                  </a:lnTo>
                  <a:lnTo>
                    <a:pt x="10" y="699"/>
                  </a:lnTo>
                  <a:lnTo>
                    <a:pt x="14" y="703"/>
                  </a:lnTo>
                  <a:lnTo>
                    <a:pt x="14" y="703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6" name="Freeform 194"/>
            <p:cNvSpPr>
              <a:spLocks/>
            </p:cNvSpPr>
            <p:nvPr/>
          </p:nvSpPr>
          <p:spPr bwMode="auto">
            <a:xfrm>
              <a:off x="4319588" y="2149475"/>
              <a:ext cx="1662113" cy="1089025"/>
            </a:xfrm>
            <a:custGeom>
              <a:avLst/>
              <a:gdLst>
                <a:gd name="T0" fmla="*/ 998 w 1047"/>
                <a:gd name="T1" fmla="*/ 311 h 686"/>
                <a:gd name="T2" fmla="*/ 1002 w 1047"/>
                <a:gd name="T3" fmla="*/ 354 h 686"/>
                <a:gd name="T4" fmla="*/ 1047 w 1047"/>
                <a:gd name="T5" fmla="*/ 367 h 686"/>
                <a:gd name="T6" fmla="*/ 1020 w 1047"/>
                <a:gd name="T7" fmla="*/ 376 h 686"/>
                <a:gd name="T8" fmla="*/ 984 w 1047"/>
                <a:gd name="T9" fmla="*/ 421 h 686"/>
                <a:gd name="T10" fmla="*/ 955 w 1047"/>
                <a:gd name="T11" fmla="*/ 426 h 686"/>
                <a:gd name="T12" fmla="*/ 923 w 1047"/>
                <a:gd name="T13" fmla="*/ 430 h 686"/>
                <a:gd name="T14" fmla="*/ 940 w 1047"/>
                <a:gd name="T15" fmla="*/ 446 h 686"/>
                <a:gd name="T16" fmla="*/ 973 w 1047"/>
                <a:gd name="T17" fmla="*/ 454 h 686"/>
                <a:gd name="T18" fmla="*/ 928 w 1047"/>
                <a:gd name="T19" fmla="*/ 482 h 686"/>
                <a:gd name="T20" fmla="*/ 880 w 1047"/>
                <a:gd name="T21" fmla="*/ 512 h 686"/>
                <a:gd name="T22" fmla="*/ 845 w 1047"/>
                <a:gd name="T23" fmla="*/ 540 h 686"/>
                <a:gd name="T24" fmla="*/ 848 w 1047"/>
                <a:gd name="T25" fmla="*/ 568 h 686"/>
                <a:gd name="T26" fmla="*/ 824 w 1047"/>
                <a:gd name="T27" fmla="*/ 566 h 686"/>
                <a:gd name="T28" fmla="*/ 771 w 1047"/>
                <a:gd name="T29" fmla="*/ 594 h 686"/>
                <a:gd name="T30" fmla="*/ 767 w 1047"/>
                <a:gd name="T31" fmla="*/ 578 h 686"/>
                <a:gd name="T32" fmla="*/ 770 w 1047"/>
                <a:gd name="T33" fmla="*/ 556 h 686"/>
                <a:gd name="T34" fmla="*/ 752 w 1047"/>
                <a:gd name="T35" fmla="*/ 540 h 686"/>
                <a:gd name="T36" fmla="*/ 734 w 1047"/>
                <a:gd name="T37" fmla="*/ 535 h 686"/>
                <a:gd name="T38" fmla="*/ 699 w 1047"/>
                <a:gd name="T39" fmla="*/ 562 h 686"/>
                <a:gd name="T40" fmla="*/ 656 w 1047"/>
                <a:gd name="T41" fmla="*/ 597 h 686"/>
                <a:gd name="T42" fmla="*/ 638 w 1047"/>
                <a:gd name="T43" fmla="*/ 639 h 686"/>
                <a:gd name="T44" fmla="*/ 616 w 1047"/>
                <a:gd name="T45" fmla="*/ 667 h 686"/>
                <a:gd name="T46" fmla="*/ 572 w 1047"/>
                <a:gd name="T47" fmla="*/ 665 h 686"/>
                <a:gd name="T48" fmla="*/ 503 w 1047"/>
                <a:gd name="T49" fmla="*/ 641 h 686"/>
                <a:gd name="T50" fmla="*/ 471 w 1047"/>
                <a:gd name="T51" fmla="*/ 623 h 686"/>
                <a:gd name="T52" fmla="*/ 458 w 1047"/>
                <a:gd name="T53" fmla="*/ 653 h 686"/>
                <a:gd name="T54" fmla="*/ 428 w 1047"/>
                <a:gd name="T55" fmla="*/ 664 h 686"/>
                <a:gd name="T56" fmla="*/ 398 w 1047"/>
                <a:gd name="T57" fmla="*/ 626 h 686"/>
                <a:gd name="T58" fmla="*/ 407 w 1047"/>
                <a:gd name="T59" fmla="*/ 547 h 686"/>
                <a:gd name="T60" fmla="*/ 340 w 1047"/>
                <a:gd name="T61" fmla="*/ 574 h 686"/>
                <a:gd name="T62" fmla="*/ 297 w 1047"/>
                <a:gd name="T63" fmla="*/ 575 h 686"/>
                <a:gd name="T64" fmla="*/ 256 w 1047"/>
                <a:gd name="T65" fmla="*/ 608 h 686"/>
                <a:gd name="T66" fmla="*/ 156 w 1047"/>
                <a:gd name="T67" fmla="*/ 586 h 686"/>
                <a:gd name="T68" fmla="*/ 83 w 1047"/>
                <a:gd name="T69" fmla="*/ 548 h 686"/>
                <a:gd name="T70" fmla="*/ 59 w 1047"/>
                <a:gd name="T71" fmla="*/ 516 h 686"/>
                <a:gd name="T72" fmla="*/ 21 w 1047"/>
                <a:gd name="T73" fmla="*/ 533 h 686"/>
                <a:gd name="T74" fmla="*/ 4 w 1047"/>
                <a:gd name="T75" fmla="*/ 470 h 686"/>
                <a:gd name="T76" fmla="*/ 16 w 1047"/>
                <a:gd name="T77" fmla="*/ 381 h 686"/>
                <a:gd name="T78" fmla="*/ 55 w 1047"/>
                <a:gd name="T79" fmla="*/ 293 h 686"/>
                <a:gd name="T80" fmla="*/ 131 w 1047"/>
                <a:gd name="T81" fmla="*/ 248 h 686"/>
                <a:gd name="T82" fmla="*/ 180 w 1047"/>
                <a:gd name="T83" fmla="*/ 272 h 686"/>
                <a:gd name="T84" fmla="*/ 284 w 1047"/>
                <a:gd name="T85" fmla="*/ 263 h 686"/>
                <a:gd name="T86" fmla="*/ 302 w 1047"/>
                <a:gd name="T87" fmla="*/ 246 h 686"/>
                <a:gd name="T88" fmla="*/ 320 w 1047"/>
                <a:gd name="T89" fmla="*/ 214 h 686"/>
                <a:gd name="T90" fmla="*/ 383 w 1047"/>
                <a:gd name="T91" fmla="*/ 132 h 686"/>
                <a:gd name="T92" fmla="*/ 368 w 1047"/>
                <a:gd name="T93" fmla="*/ 66 h 686"/>
                <a:gd name="T94" fmla="*/ 386 w 1047"/>
                <a:gd name="T95" fmla="*/ 18 h 686"/>
                <a:gd name="T96" fmla="*/ 450 w 1047"/>
                <a:gd name="T97" fmla="*/ 34 h 686"/>
                <a:gd name="T98" fmla="*/ 521 w 1047"/>
                <a:gd name="T99" fmla="*/ 29 h 686"/>
                <a:gd name="T100" fmla="*/ 535 w 1047"/>
                <a:gd name="T101" fmla="*/ 56 h 686"/>
                <a:gd name="T102" fmla="*/ 577 w 1047"/>
                <a:gd name="T103" fmla="*/ 76 h 686"/>
                <a:gd name="T104" fmla="*/ 643 w 1047"/>
                <a:gd name="T105" fmla="*/ 53 h 686"/>
                <a:gd name="T106" fmla="*/ 694 w 1047"/>
                <a:gd name="T107" fmla="*/ 39 h 686"/>
                <a:gd name="T108" fmla="*/ 722 w 1047"/>
                <a:gd name="T109" fmla="*/ 76 h 686"/>
                <a:gd name="T110" fmla="*/ 769 w 1047"/>
                <a:gd name="T111" fmla="*/ 127 h 686"/>
                <a:gd name="T112" fmla="*/ 854 w 1047"/>
                <a:gd name="T113" fmla="*/ 113 h 686"/>
                <a:gd name="T114" fmla="*/ 885 w 1047"/>
                <a:gd name="T115" fmla="*/ 149 h 686"/>
                <a:gd name="T116" fmla="*/ 990 w 1047"/>
                <a:gd name="T117" fmla="*/ 180 h 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47" h="686">
                  <a:moveTo>
                    <a:pt x="1001" y="188"/>
                  </a:moveTo>
                  <a:lnTo>
                    <a:pt x="1012" y="294"/>
                  </a:lnTo>
                  <a:lnTo>
                    <a:pt x="1015" y="294"/>
                  </a:lnTo>
                  <a:lnTo>
                    <a:pt x="1015" y="298"/>
                  </a:lnTo>
                  <a:lnTo>
                    <a:pt x="1015" y="298"/>
                  </a:lnTo>
                  <a:lnTo>
                    <a:pt x="1011" y="299"/>
                  </a:lnTo>
                  <a:lnTo>
                    <a:pt x="1007" y="301"/>
                  </a:lnTo>
                  <a:lnTo>
                    <a:pt x="1003" y="305"/>
                  </a:lnTo>
                  <a:lnTo>
                    <a:pt x="1003" y="305"/>
                  </a:lnTo>
                  <a:lnTo>
                    <a:pt x="1002" y="308"/>
                  </a:lnTo>
                  <a:lnTo>
                    <a:pt x="998" y="311"/>
                  </a:lnTo>
                  <a:lnTo>
                    <a:pt x="995" y="315"/>
                  </a:lnTo>
                  <a:lnTo>
                    <a:pt x="992" y="319"/>
                  </a:lnTo>
                  <a:lnTo>
                    <a:pt x="992" y="319"/>
                  </a:lnTo>
                  <a:lnTo>
                    <a:pt x="992" y="320"/>
                  </a:lnTo>
                  <a:lnTo>
                    <a:pt x="992" y="324"/>
                  </a:lnTo>
                  <a:lnTo>
                    <a:pt x="992" y="329"/>
                  </a:lnTo>
                  <a:lnTo>
                    <a:pt x="990" y="336"/>
                  </a:lnTo>
                  <a:lnTo>
                    <a:pt x="990" y="336"/>
                  </a:lnTo>
                  <a:lnTo>
                    <a:pt x="992" y="354"/>
                  </a:lnTo>
                  <a:lnTo>
                    <a:pt x="992" y="354"/>
                  </a:lnTo>
                  <a:lnTo>
                    <a:pt x="1002" y="354"/>
                  </a:lnTo>
                  <a:lnTo>
                    <a:pt x="1010" y="352"/>
                  </a:lnTo>
                  <a:lnTo>
                    <a:pt x="1017" y="351"/>
                  </a:lnTo>
                  <a:lnTo>
                    <a:pt x="1017" y="351"/>
                  </a:lnTo>
                  <a:lnTo>
                    <a:pt x="1019" y="354"/>
                  </a:lnTo>
                  <a:lnTo>
                    <a:pt x="1021" y="356"/>
                  </a:lnTo>
                  <a:lnTo>
                    <a:pt x="1021" y="356"/>
                  </a:lnTo>
                  <a:lnTo>
                    <a:pt x="1045" y="360"/>
                  </a:lnTo>
                  <a:lnTo>
                    <a:pt x="1045" y="360"/>
                  </a:lnTo>
                  <a:lnTo>
                    <a:pt x="1046" y="362"/>
                  </a:lnTo>
                  <a:lnTo>
                    <a:pt x="1047" y="365"/>
                  </a:lnTo>
                  <a:lnTo>
                    <a:pt x="1047" y="367"/>
                  </a:lnTo>
                  <a:lnTo>
                    <a:pt x="1046" y="368"/>
                  </a:lnTo>
                  <a:lnTo>
                    <a:pt x="1045" y="369"/>
                  </a:lnTo>
                  <a:lnTo>
                    <a:pt x="1041" y="369"/>
                  </a:lnTo>
                  <a:lnTo>
                    <a:pt x="1041" y="369"/>
                  </a:lnTo>
                  <a:lnTo>
                    <a:pt x="1038" y="369"/>
                  </a:lnTo>
                  <a:lnTo>
                    <a:pt x="1037" y="371"/>
                  </a:lnTo>
                  <a:lnTo>
                    <a:pt x="1036" y="372"/>
                  </a:lnTo>
                  <a:lnTo>
                    <a:pt x="1032" y="373"/>
                  </a:lnTo>
                  <a:lnTo>
                    <a:pt x="1032" y="373"/>
                  </a:lnTo>
                  <a:lnTo>
                    <a:pt x="1027" y="375"/>
                  </a:lnTo>
                  <a:lnTo>
                    <a:pt x="1020" y="376"/>
                  </a:lnTo>
                  <a:lnTo>
                    <a:pt x="1011" y="380"/>
                  </a:lnTo>
                  <a:lnTo>
                    <a:pt x="1006" y="384"/>
                  </a:lnTo>
                  <a:lnTo>
                    <a:pt x="999" y="389"/>
                  </a:lnTo>
                  <a:lnTo>
                    <a:pt x="999" y="389"/>
                  </a:lnTo>
                  <a:lnTo>
                    <a:pt x="998" y="391"/>
                  </a:lnTo>
                  <a:lnTo>
                    <a:pt x="998" y="394"/>
                  </a:lnTo>
                  <a:lnTo>
                    <a:pt x="995" y="402"/>
                  </a:lnTo>
                  <a:lnTo>
                    <a:pt x="995" y="402"/>
                  </a:lnTo>
                  <a:lnTo>
                    <a:pt x="990" y="408"/>
                  </a:lnTo>
                  <a:lnTo>
                    <a:pt x="986" y="413"/>
                  </a:lnTo>
                  <a:lnTo>
                    <a:pt x="984" y="421"/>
                  </a:lnTo>
                  <a:lnTo>
                    <a:pt x="984" y="421"/>
                  </a:lnTo>
                  <a:lnTo>
                    <a:pt x="983" y="424"/>
                  </a:lnTo>
                  <a:lnTo>
                    <a:pt x="983" y="424"/>
                  </a:lnTo>
                  <a:lnTo>
                    <a:pt x="972" y="420"/>
                  </a:lnTo>
                  <a:lnTo>
                    <a:pt x="964" y="419"/>
                  </a:lnTo>
                  <a:lnTo>
                    <a:pt x="959" y="417"/>
                  </a:lnTo>
                  <a:lnTo>
                    <a:pt x="959" y="417"/>
                  </a:lnTo>
                  <a:lnTo>
                    <a:pt x="958" y="422"/>
                  </a:lnTo>
                  <a:lnTo>
                    <a:pt x="957" y="425"/>
                  </a:lnTo>
                  <a:lnTo>
                    <a:pt x="955" y="426"/>
                  </a:lnTo>
                  <a:lnTo>
                    <a:pt x="955" y="426"/>
                  </a:lnTo>
                  <a:lnTo>
                    <a:pt x="946" y="428"/>
                  </a:lnTo>
                  <a:lnTo>
                    <a:pt x="940" y="428"/>
                  </a:lnTo>
                  <a:lnTo>
                    <a:pt x="936" y="426"/>
                  </a:lnTo>
                  <a:lnTo>
                    <a:pt x="936" y="426"/>
                  </a:lnTo>
                  <a:lnTo>
                    <a:pt x="933" y="424"/>
                  </a:lnTo>
                  <a:lnTo>
                    <a:pt x="932" y="424"/>
                  </a:lnTo>
                  <a:lnTo>
                    <a:pt x="929" y="422"/>
                  </a:lnTo>
                  <a:lnTo>
                    <a:pt x="929" y="422"/>
                  </a:lnTo>
                  <a:lnTo>
                    <a:pt x="927" y="424"/>
                  </a:lnTo>
                  <a:lnTo>
                    <a:pt x="924" y="426"/>
                  </a:lnTo>
                  <a:lnTo>
                    <a:pt x="923" y="430"/>
                  </a:lnTo>
                  <a:lnTo>
                    <a:pt x="923" y="430"/>
                  </a:lnTo>
                  <a:lnTo>
                    <a:pt x="925" y="435"/>
                  </a:lnTo>
                  <a:lnTo>
                    <a:pt x="928" y="439"/>
                  </a:lnTo>
                  <a:lnTo>
                    <a:pt x="928" y="439"/>
                  </a:lnTo>
                  <a:lnTo>
                    <a:pt x="931" y="438"/>
                  </a:lnTo>
                  <a:lnTo>
                    <a:pt x="932" y="437"/>
                  </a:lnTo>
                  <a:lnTo>
                    <a:pt x="935" y="435"/>
                  </a:lnTo>
                  <a:lnTo>
                    <a:pt x="935" y="435"/>
                  </a:lnTo>
                  <a:lnTo>
                    <a:pt x="936" y="438"/>
                  </a:lnTo>
                  <a:lnTo>
                    <a:pt x="937" y="442"/>
                  </a:lnTo>
                  <a:lnTo>
                    <a:pt x="940" y="446"/>
                  </a:lnTo>
                  <a:lnTo>
                    <a:pt x="942" y="450"/>
                  </a:lnTo>
                  <a:lnTo>
                    <a:pt x="942" y="450"/>
                  </a:lnTo>
                  <a:lnTo>
                    <a:pt x="942" y="454"/>
                  </a:lnTo>
                  <a:lnTo>
                    <a:pt x="944" y="455"/>
                  </a:lnTo>
                  <a:lnTo>
                    <a:pt x="945" y="456"/>
                  </a:lnTo>
                  <a:lnTo>
                    <a:pt x="945" y="456"/>
                  </a:lnTo>
                  <a:lnTo>
                    <a:pt x="949" y="455"/>
                  </a:lnTo>
                  <a:lnTo>
                    <a:pt x="953" y="450"/>
                  </a:lnTo>
                  <a:lnTo>
                    <a:pt x="958" y="443"/>
                  </a:lnTo>
                  <a:lnTo>
                    <a:pt x="973" y="454"/>
                  </a:lnTo>
                  <a:lnTo>
                    <a:pt x="973" y="454"/>
                  </a:lnTo>
                  <a:lnTo>
                    <a:pt x="967" y="459"/>
                  </a:lnTo>
                  <a:lnTo>
                    <a:pt x="964" y="461"/>
                  </a:lnTo>
                  <a:lnTo>
                    <a:pt x="963" y="464"/>
                  </a:lnTo>
                  <a:lnTo>
                    <a:pt x="958" y="470"/>
                  </a:lnTo>
                  <a:lnTo>
                    <a:pt x="958" y="470"/>
                  </a:lnTo>
                  <a:lnTo>
                    <a:pt x="953" y="474"/>
                  </a:lnTo>
                  <a:lnTo>
                    <a:pt x="950" y="477"/>
                  </a:lnTo>
                  <a:lnTo>
                    <a:pt x="944" y="477"/>
                  </a:lnTo>
                  <a:lnTo>
                    <a:pt x="937" y="477"/>
                  </a:lnTo>
                  <a:lnTo>
                    <a:pt x="933" y="479"/>
                  </a:lnTo>
                  <a:lnTo>
                    <a:pt x="928" y="482"/>
                  </a:lnTo>
                  <a:lnTo>
                    <a:pt x="928" y="496"/>
                  </a:lnTo>
                  <a:lnTo>
                    <a:pt x="928" y="496"/>
                  </a:lnTo>
                  <a:lnTo>
                    <a:pt x="924" y="498"/>
                  </a:lnTo>
                  <a:lnTo>
                    <a:pt x="919" y="500"/>
                  </a:lnTo>
                  <a:lnTo>
                    <a:pt x="913" y="503"/>
                  </a:lnTo>
                  <a:lnTo>
                    <a:pt x="909" y="505"/>
                  </a:lnTo>
                  <a:lnTo>
                    <a:pt x="907" y="508"/>
                  </a:lnTo>
                  <a:lnTo>
                    <a:pt x="887" y="504"/>
                  </a:lnTo>
                  <a:lnTo>
                    <a:pt x="887" y="504"/>
                  </a:lnTo>
                  <a:lnTo>
                    <a:pt x="883" y="508"/>
                  </a:lnTo>
                  <a:lnTo>
                    <a:pt x="880" y="512"/>
                  </a:lnTo>
                  <a:lnTo>
                    <a:pt x="875" y="521"/>
                  </a:lnTo>
                  <a:lnTo>
                    <a:pt x="872" y="529"/>
                  </a:lnTo>
                  <a:lnTo>
                    <a:pt x="870" y="533"/>
                  </a:lnTo>
                  <a:lnTo>
                    <a:pt x="870" y="533"/>
                  </a:lnTo>
                  <a:lnTo>
                    <a:pt x="865" y="533"/>
                  </a:lnTo>
                  <a:lnTo>
                    <a:pt x="859" y="535"/>
                  </a:lnTo>
                  <a:lnTo>
                    <a:pt x="853" y="538"/>
                  </a:lnTo>
                  <a:lnTo>
                    <a:pt x="853" y="538"/>
                  </a:lnTo>
                  <a:lnTo>
                    <a:pt x="850" y="535"/>
                  </a:lnTo>
                  <a:lnTo>
                    <a:pt x="848" y="535"/>
                  </a:lnTo>
                  <a:lnTo>
                    <a:pt x="845" y="540"/>
                  </a:lnTo>
                  <a:lnTo>
                    <a:pt x="845" y="540"/>
                  </a:lnTo>
                  <a:lnTo>
                    <a:pt x="840" y="548"/>
                  </a:lnTo>
                  <a:lnTo>
                    <a:pt x="839" y="549"/>
                  </a:lnTo>
                  <a:lnTo>
                    <a:pt x="839" y="549"/>
                  </a:lnTo>
                  <a:lnTo>
                    <a:pt x="841" y="552"/>
                  </a:lnTo>
                  <a:lnTo>
                    <a:pt x="844" y="556"/>
                  </a:lnTo>
                  <a:lnTo>
                    <a:pt x="849" y="561"/>
                  </a:lnTo>
                  <a:lnTo>
                    <a:pt x="849" y="561"/>
                  </a:lnTo>
                  <a:lnTo>
                    <a:pt x="849" y="564"/>
                  </a:lnTo>
                  <a:lnTo>
                    <a:pt x="849" y="566"/>
                  </a:lnTo>
                  <a:lnTo>
                    <a:pt x="848" y="568"/>
                  </a:lnTo>
                  <a:lnTo>
                    <a:pt x="848" y="568"/>
                  </a:lnTo>
                  <a:lnTo>
                    <a:pt x="845" y="569"/>
                  </a:lnTo>
                  <a:lnTo>
                    <a:pt x="841" y="572"/>
                  </a:lnTo>
                  <a:lnTo>
                    <a:pt x="839" y="572"/>
                  </a:lnTo>
                  <a:lnTo>
                    <a:pt x="835" y="570"/>
                  </a:lnTo>
                  <a:lnTo>
                    <a:pt x="831" y="569"/>
                  </a:lnTo>
                  <a:lnTo>
                    <a:pt x="827" y="566"/>
                  </a:lnTo>
                  <a:lnTo>
                    <a:pt x="827" y="566"/>
                  </a:lnTo>
                  <a:lnTo>
                    <a:pt x="826" y="565"/>
                  </a:lnTo>
                  <a:lnTo>
                    <a:pt x="824" y="566"/>
                  </a:lnTo>
                  <a:lnTo>
                    <a:pt x="824" y="566"/>
                  </a:lnTo>
                  <a:lnTo>
                    <a:pt x="823" y="569"/>
                  </a:lnTo>
                  <a:lnTo>
                    <a:pt x="819" y="573"/>
                  </a:lnTo>
                  <a:lnTo>
                    <a:pt x="814" y="577"/>
                  </a:lnTo>
                  <a:lnTo>
                    <a:pt x="818" y="592"/>
                  </a:lnTo>
                  <a:lnTo>
                    <a:pt x="818" y="592"/>
                  </a:lnTo>
                  <a:lnTo>
                    <a:pt x="813" y="594"/>
                  </a:lnTo>
                  <a:lnTo>
                    <a:pt x="809" y="594"/>
                  </a:lnTo>
                  <a:lnTo>
                    <a:pt x="809" y="600"/>
                  </a:lnTo>
                  <a:lnTo>
                    <a:pt x="806" y="600"/>
                  </a:lnTo>
                  <a:lnTo>
                    <a:pt x="796" y="592"/>
                  </a:lnTo>
                  <a:lnTo>
                    <a:pt x="771" y="594"/>
                  </a:lnTo>
                  <a:lnTo>
                    <a:pt x="771" y="601"/>
                  </a:lnTo>
                  <a:lnTo>
                    <a:pt x="771" y="601"/>
                  </a:lnTo>
                  <a:lnTo>
                    <a:pt x="766" y="603"/>
                  </a:lnTo>
                  <a:lnTo>
                    <a:pt x="762" y="601"/>
                  </a:lnTo>
                  <a:lnTo>
                    <a:pt x="760" y="600"/>
                  </a:lnTo>
                  <a:lnTo>
                    <a:pt x="760" y="600"/>
                  </a:lnTo>
                  <a:lnTo>
                    <a:pt x="760" y="597"/>
                  </a:lnTo>
                  <a:lnTo>
                    <a:pt x="762" y="595"/>
                  </a:lnTo>
                  <a:lnTo>
                    <a:pt x="767" y="590"/>
                  </a:lnTo>
                  <a:lnTo>
                    <a:pt x="767" y="590"/>
                  </a:lnTo>
                  <a:lnTo>
                    <a:pt x="767" y="578"/>
                  </a:lnTo>
                  <a:lnTo>
                    <a:pt x="769" y="574"/>
                  </a:lnTo>
                  <a:lnTo>
                    <a:pt x="770" y="572"/>
                  </a:lnTo>
                  <a:lnTo>
                    <a:pt x="770" y="569"/>
                  </a:lnTo>
                  <a:lnTo>
                    <a:pt x="770" y="569"/>
                  </a:lnTo>
                  <a:lnTo>
                    <a:pt x="769" y="566"/>
                  </a:lnTo>
                  <a:lnTo>
                    <a:pt x="766" y="564"/>
                  </a:lnTo>
                  <a:lnTo>
                    <a:pt x="766" y="562"/>
                  </a:lnTo>
                  <a:lnTo>
                    <a:pt x="766" y="560"/>
                  </a:lnTo>
                  <a:lnTo>
                    <a:pt x="767" y="559"/>
                  </a:lnTo>
                  <a:lnTo>
                    <a:pt x="770" y="556"/>
                  </a:lnTo>
                  <a:lnTo>
                    <a:pt x="770" y="556"/>
                  </a:lnTo>
                  <a:lnTo>
                    <a:pt x="770" y="553"/>
                  </a:lnTo>
                  <a:lnTo>
                    <a:pt x="771" y="551"/>
                  </a:lnTo>
                  <a:lnTo>
                    <a:pt x="771" y="548"/>
                  </a:lnTo>
                  <a:lnTo>
                    <a:pt x="770" y="548"/>
                  </a:lnTo>
                  <a:lnTo>
                    <a:pt x="770" y="548"/>
                  </a:lnTo>
                  <a:lnTo>
                    <a:pt x="769" y="549"/>
                  </a:lnTo>
                  <a:lnTo>
                    <a:pt x="766" y="549"/>
                  </a:lnTo>
                  <a:lnTo>
                    <a:pt x="762" y="546"/>
                  </a:lnTo>
                  <a:lnTo>
                    <a:pt x="758" y="539"/>
                  </a:lnTo>
                  <a:lnTo>
                    <a:pt x="758" y="539"/>
                  </a:lnTo>
                  <a:lnTo>
                    <a:pt x="752" y="540"/>
                  </a:lnTo>
                  <a:lnTo>
                    <a:pt x="749" y="539"/>
                  </a:lnTo>
                  <a:lnTo>
                    <a:pt x="748" y="534"/>
                  </a:lnTo>
                  <a:lnTo>
                    <a:pt x="748" y="534"/>
                  </a:lnTo>
                  <a:lnTo>
                    <a:pt x="747" y="534"/>
                  </a:lnTo>
                  <a:lnTo>
                    <a:pt x="744" y="534"/>
                  </a:lnTo>
                  <a:lnTo>
                    <a:pt x="741" y="535"/>
                  </a:lnTo>
                  <a:lnTo>
                    <a:pt x="738" y="537"/>
                  </a:lnTo>
                  <a:lnTo>
                    <a:pt x="736" y="537"/>
                  </a:lnTo>
                  <a:lnTo>
                    <a:pt x="735" y="535"/>
                  </a:lnTo>
                  <a:lnTo>
                    <a:pt x="735" y="535"/>
                  </a:lnTo>
                  <a:lnTo>
                    <a:pt x="734" y="535"/>
                  </a:lnTo>
                  <a:lnTo>
                    <a:pt x="731" y="537"/>
                  </a:lnTo>
                  <a:lnTo>
                    <a:pt x="729" y="539"/>
                  </a:lnTo>
                  <a:lnTo>
                    <a:pt x="726" y="542"/>
                  </a:lnTo>
                  <a:lnTo>
                    <a:pt x="726" y="542"/>
                  </a:lnTo>
                  <a:lnTo>
                    <a:pt x="719" y="543"/>
                  </a:lnTo>
                  <a:lnTo>
                    <a:pt x="716" y="543"/>
                  </a:lnTo>
                  <a:lnTo>
                    <a:pt x="714" y="544"/>
                  </a:lnTo>
                  <a:lnTo>
                    <a:pt x="713" y="547"/>
                  </a:lnTo>
                  <a:lnTo>
                    <a:pt x="712" y="551"/>
                  </a:lnTo>
                  <a:lnTo>
                    <a:pt x="712" y="561"/>
                  </a:lnTo>
                  <a:lnTo>
                    <a:pt x="699" y="562"/>
                  </a:lnTo>
                  <a:lnTo>
                    <a:pt x="699" y="570"/>
                  </a:lnTo>
                  <a:lnTo>
                    <a:pt x="688" y="570"/>
                  </a:lnTo>
                  <a:lnTo>
                    <a:pt x="678" y="582"/>
                  </a:lnTo>
                  <a:lnTo>
                    <a:pt x="678" y="582"/>
                  </a:lnTo>
                  <a:lnTo>
                    <a:pt x="678" y="586"/>
                  </a:lnTo>
                  <a:lnTo>
                    <a:pt x="678" y="590"/>
                  </a:lnTo>
                  <a:lnTo>
                    <a:pt x="678" y="591"/>
                  </a:lnTo>
                  <a:lnTo>
                    <a:pt x="678" y="591"/>
                  </a:lnTo>
                  <a:lnTo>
                    <a:pt x="670" y="596"/>
                  </a:lnTo>
                  <a:lnTo>
                    <a:pt x="666" y="597"/>
                  </a:lnTo>
                  <a:lnTo>
                    <a:pt x="656" y="597"/>
                  </a:lnTo>
                  <a:lnTo>
                    <a:pt x="656" y="597"/>
                  </a:lnTo>
                  <a:lnTo>
                    <a:pt x="653" y="601"/>
                  </a:lnTo>
                  <a:lnTo>
                    <a:pt x="651" y="604"/>
                  </a:lnTo>
                  <a:lnTo>
                    <a:pt x="647" y="606"/>
                  </a:lnTo>
                  <a:lnTo>
                    <a:pt x="647" y="606"/>
                  </a:lnTo>
                  <a:lnTo>
                    <a:pt x="646" y="625"/>
                  </a:lnTo>
                  <a:lnTo>
                    <a:pt x="644" y="638"/>
                  </a:lnTo>
                  <a:lnTo>
                    <a:pt x="643" y="643"/>
                  </a:lnTo>
                  <a:lnTo>
                    <a:pt x="643" y="643"/>
                  </a:lnTo>
                  <a:lnTo>
                    <a:pt x="642" y="643"/>
                  </a:lnTo>
                  <a:lnTo>
                    <a:pt x="638" y="639"/>
                  </a:lnTo>
                  <a:lnTo>
                    <a:pt x="634" y="635"/>
                  </a:lnTo>
                  <a:lnTo>
                    <a:pt x="634" y="635"/>
                  </a:lnTo>
                  <a:lnTo>
                    <a:pt x="624" y="640"/>
                  </a:lnTo>
                  <a:lnTo>
                    <a:pt x="616" y="644"/>
                  </a:lnTo>
                  <a:lnTo>
                    <a:pt x="612" y="647"/>
                  </a:lnTo>
                  <a:lnTo>
                    <a:pt x="612" y="647"/>
                  </a:lnTo>
                  <a:lnTo>
                    <a:pt x="617" y="654"/>
                  </a:lnTo>
                  <a:lnTo>
                    <a:pt x="621" y="662"/>
                  </a:lnTo>
                  <a:lnTo>
                    <a:pt x="621" y="662"/>
                  </a:lnTo>
                  <a:lnTo>
                    <a:pt x="620" y="664"/>
                  </a:lnTo>
                  <a:lnTo>
                    <a:pt x="616" y="667"/>
                  </a:lnTo>
                  <a:lnTo>
                    <a:pt x="603" y="674"/>
                  </a:lnTo>
                  <a:lnTo>
                    <a:pt x="603" y="674"/>
                  </a:lnTo>
                  <a:lnTo>
                    <a:pt x="578" y="684"/>
                  </a:lnTo>
                  <a:lnTo>
                    <a:pt x="578" y="684"/>
                  </a:lnTo>
                  <a:lnTo>
                    <a:pt x="576" y="686"/>
                  </a:lnTo>
                  <a:lnTo>
                    <a:pt x="572" y="684"/>
                  </a:lnTo>
                  <a:lnTo>
                    <a:pt x="570" y="683"/>
                  </a:lnTo>
                  <a:lnTo>
                    <a:pt x="570" y="683"/>
                  </a:lnTo>
                  <a:lnTo>
                    <a:pt x="569" y="679"/>
                  </a:lnTo>
                  <a:lnTo>
                    <a:pt x="569" y="673"/>
                  </a:lnTo>
                  <a:lnTo>
                    <a:pt x="572" y="665"/>
                  </a:lnTo>
                  <a:lnTo>
                    <a:pt x="576" y="653"/>
                  </a:lnTo>
                  <a:lnTo>
                    <a:pt x="563" y="645"/>
                  </a:lnTo>
                  <a:lnTo>
                    <a:pt x="563" y="645"/>
                  </a:lnTo>
                  <a:lnTo>
                    <a:pt x="545" y="651"/>
                  </a:lnTo>
                  <a:lnTo>
                    <a:pt x="528" y="654"/>
                  </a:lnTo>
                  <a:lnTo>
                    <a:pt x="512" y="657"/>
                  </a:lnTo>
                  <a:lnTo>
                    <a:pt x="512" y="657"/>
                  </a:lnTo>
                  <a:lnTo>
                    <a:pt x="508" y="652"/>
                  </a:lnTo>
                  <a:lnTo>
                    <a:pt x="506" y="647"/>
                  </a:lnTo>
                  <a:lnTo>
                    <a:pt x="503" y="641"/>
                  </a:lnTo>
                  <a:lnTo>
                    <a:pt x="503" y="641"/>
                  </a:lnTo>
                  <a:lnTo>
                    <a:pt x="495" y="639"/>
                  </a:lnTo>
                  <a:lnTo>
                    <a:pt x="490" y="636"/>
                  </a:lnTo>
                  <a:lnTo>
                    <a:pt x="486" y="632"/>
                  </a:lnTo>
                  <a:lnTo>
                    <a:pt x="482" y="629"/>
                  </a:lnTo>
                  <a:lnTo>
                    <a:pt x="478" y="623"/>
                  </a:lnTo>
                  <a:lnTo>
                    <a:pt x="477" y="621"/>
                  </a:lnTo>
                  <a:lnTo>
                    <a:pt x="476" y="621"/>
                  </a:lnTo>
                  <a:lnTo>
                    <a:pt x="476" y="621"/>
                  </a:lnTo>
                  <a:lnTo>
                    <a:pt x="476" y="622"/>
                  </a:lnTo>
                  <a:lnTo>
                    <a:pt x="475" y="623"/>
                  </a:lnTo>
                  <a:lnTo>
                    <a:pt x="471" y="623"/>
                  </a:lnTo>
                  <a:lnTo>
                    <a:pt x="467" y="626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3" y="635"/>
                  </a:lnTo>
                  <a:lnTo>
                    <a:pt x="464" y="640"/>
                  </a:lnTo>
                  <a:lnTo>
                    <a:pt x="469" y="648"/>
                  </a:lnTo>
                  <a:lnTo>
                    <a:pt x="469" y="648"/>
                  </a:lnTo>
                  <a:lnTo>
                    <a:pt x="467" y="651"/>
                  </a:lnTo>
                  <a:lnTo>
                    <a:pt x="463" y="652"/>
                  </a:lnTo>
                  <a:lnTo>
                    <a:pt x="460" y="653"/>
                  </a:lnTo>
                  <a:lnTo>
                    <a:pt x="458" y="653"/>
                  </a:lnTo>
                  <a:lnTo>
                    <a:pt x="454" y="652"/>
                  </a:lnTo>
                  <a:lnTo>
                    <a:pt x="451" y="651"/>
                  </a:lnTo>
                  <a:lnTo>
                    <a:pt x="451" y="651"/>
                  </a:lnTo>
                  <a:lnTo>
                    <a:pt x="445" y="656"/>
                  </a:lnTo>
                  <a:lnTo>
                    <a:pt x="442" y="658"/>
                  </a:lnTo>
                  <a:lnTo>
                    <a:pt x="441" y="661"/>
                  </a:lnTo>
                  <a:lnTo>
                    <a:pt x="442" y="662"/>
                  </a:lnTo>
                  <a:lnTo>
                    <a:pt x="442" y="662"/>
                  </a:lnTo>
                  <a:lnTo>
                    <a:pt x="436" y="664"/>
                  </a:lnTo>
                  <a:lnTo>
                    <a:pt x="428" y="664"/>
                  </a:lnTo>
                  <a:lnTo>
                    <a:pt x="428" y="664"/>
                  </a:lnTo>
                  <a:lnTo>
                    <a:pt x="414" y="661"/>
                  </a:lnTo>
                  <a:lnTo>
                    <a:pt x="403" y="657"/>
                  </a:lnTo>
                  <a:lnTo>
                    <a:pt x="395" y="653"/>
                  </a:lnTo>
                  <a:lnTo>
                    <a:pt x="392" y="649"/>
                  </a:lnTo>
                  <a:lnTo>
                    <a:pt x="392" y="649"/>
                  </a:lnTo>
                  <a:lnTo>
                    <a:pt x="394" y="647"/>
                  </a:lnTo>
                  <a:lnTo>
                    <a:pt x="395" y="644"/>
                  </a:lnTo>
                  <a:lnTo>
                    <a:pt x="397" y="640"/>
                  </a:lnTo>
                  <a:lnTo>
                    <a:pt x="397" y="634"/>
                  </a:lnTo>
                  <a:lnTo>
                    <a:pt x="397" y="634"/>
                  </a:lnTo>
                  <a:lnTo>
                    <a:pt x="398" y="626"/>
                  </a:lnTo>
                  <a:lnTo>
                    <a:pt x="399" y="621"/>
                  </a:lnTo>
                  <a:lnTo>
                    <a:pt x="401" y="616"/>
                  </a:lnTo>
                  <a:lnTo>
                    <a:pt x="401" y="616"/>
                  </a:lnTo>
                  <a:lnTo>
                    <a:pt x="401" y="600"/>
                  </a:lnTo>
                  <a:lnTo>
                    <a:pt x="401" y="600"/>
                  </a:lnTo>
                  <a:lnTo>
                    <a:pt x="402" y="596"/>
                  </a:lnTo>
                  <a:lnTo>
                    <a:pt x="405" y="592"/>
                  </a:lnTo>
                  <a:lnTo>
                    <a:pt x="408" y="590"/>
                  </a:lnTo>
                  <a:lnTo>
                    <a:pt x="408" y="590"/>
                  </a:lnTo>
                  <a:lnTo>
                    <a:pt x="407" y="547"/>
                  </a:lnTo>
                  <a:lnTo>
                    <a:pt x="407" y="547"/>
                  </a:lnTo>
                  <a:lnTo>
                    <a:pt x="393" y="546"/>
                  </a:lnTo>
                  <a:lnTo>
                    <a:pt x="380" y="547"/>
                  </a:lnTo>
                  <a:lnTo>
                    <a:pt x="373" y="548"/>
                  </a:lnTo>
                  <a:lnTo>
                    <a:pt x="367" y="549"/>
                  </a:lnTo>
                  <a:lnTo>
                    <a:pt x="367" y="549"/>
                  </a:lnTo>
                  <a:lnTo>
                    <a:pt x="362" y="553"/>
                  </a:lnTo>
                  <a:lnTo>
                    <a:pt x="355" y="557"/>
                  </a:lnTo>
                  <a:lnTo>
                    <a:pt x="348" y="562"/>
                  </a:lnTo>
                  <a:lnTo>
                    <a:pt x="348" y="562"/>
                  </a:lnTo>
                  <a:lnTo>
                    <a:pt x="344" y="570"/>
                  </a:lnTo>
                  <a:lnTo>
                    <a:pt x="340" y="574"/>
                  </a:lnTo>
                  <a:lnTo>
                    <a:pt x="337" y="575"/>
                  </a:lnTo>
                  <a:lnTo>
                    <a:pt x="335" y="577"/>
                  </a:lnTo>
                  <a:lnTo>
                    <a:pt x="335" y="577"/>
                  </a:lnTo>
                  <a:lnTo>
                    <a:pt x="331" y="581"/>
                  </a:lnTo>
                  <a:lnTo>
                    <a:pt x="328" y="582"/>
                  </a:lnTo>
                  <a:lnTo>
                    <a:pt x="324" y="582"/>
                  </a:lnTo>
                  <a:lnTo>
                    <a:pt x="324" y="582"/>
                  </a:lnTo>
                  <a:lnTo>
                    <a:pt x="323" y="582"/>
                  </a:lnTo>
                  <a:lnTo>
                    <a:pt x="320" y="581"/>
                  </a:lnTo>
                  <a:lnTo>
                    <a:pt x="314" y="574"/>
                  </a:lnTo>
                  <a:lnTo>
                    <a:pt x="297" y="575"/>
                  </a:lnTo>
                  <a:lnTo>
                    <a:pt x="302" y="586"/>
                  </a:lnTo>
                  <a:lnTo>
                    <a:pt x="302" y="595"/>
                  </a:lnTo>
                  <a:lnTo>
                    <a:pt x="302" y="595"/>
                  </a:lnTo>
                  <a:lnTo>
                    <a:pt x="296" y="600"/>
                  </a:lnTo>
                  <a:lnTo>
                    <a:pt x="292" y="604"/>
                  </a:lnTo>
                  <a:lnTo>
                    <a:pt x="287" y="606"/>
                  </a:lnTo>
                  <a:lnTo>
                    <a:pt x="287" y="606"/>
                  </a:lnTo>
                  <a:lnTo>
                    <a:pt x="279" y="608"/>
                  </a:lnTo>
                  <a:lnTo>
                    <a:pt x="268" y="608"/>
                  </a:lnTo>
                  <a:lnTo>
                    <a:pt x="256" y="608"/>
                  </a:lnTo>
                  <a:lnTo>
                    <a:pt x="256" y="608"/>
                  </a:lnTo>
                  <a:lnTo>
                    <a:pt x="240" y="614"/>
                  </a:lnTo>
                  <a:lnTo>
                    <a:pt x="232" y="617"/>
                  </a:lnTo>
                  <a:lnTo>
                    <a:pt x="222" y="619"/>
                  </a:lnTo>
                  <a:lnTo>
                    <a:pt x="200" y="629"/>
                  </a:lnTo>
                  <a:lnTo>
                    <a:pt x="200" y="629"/>
                  </a:lnTo>
                  <a:lnTo>
                    <a:pt x="187" y="608"/>
                  </a:lnTo>
                  <a:lnTo>
                    <a:pt x="187" y="608"/>
                  </a:lnTo>
                  <a:lnTo>
                    <a:pt x="192" y="599"/>
                  </a:lnTo>
                  <a:lnTo>
                    <a:pt x="196" y="594"/>
                  </a:lnTo>
                  <a:lnTo>
                    <a:pt x="186" y="575"/>
                  </a:lnTo>
                  <a:lnTo>
                    <a:pt x="156" y="586"/>
                  </a:lnTo>
                  <a:lnTo>
                    <a:pt x="148" y="578"/>
                  </a:lnTo>
                  <a:lnTo>
                    <a:pt x="143" y="581"/>
                  </a:lnTo>
                  <a:lnTo>
                    <a:pt x="122" y="568"/>
                  </a:lnTo>
                  <a:lnTo>
                    <a:pt x="108" y="573"/>
                  </a:lnTo>
                  <a:lnTo>
                    <a:pt x="108" y="573"/>
                  </a:lnTo>
                  <a:lnTo>
                    <a:pt x="99" y="548"/>
                  </a:lnTo>
                  <a:lnTo>
                    <a:pt x="99" y="548"/>
                  </a:lnTo>
                  <a:lnTo>
                    <a:pt x="95" y="547"/>
                  </a:lnTo>
                  <a:lnTo>
                    <a:pt x="92" y="547"/>
                  </a:lnTo>
                  <a:lnTo>
                    <a:pt x="86" y="548"/>
                  </a:lnTo>
                  <a:lnTo>
                    <a:pt x="83" y="548"/>
                  </a:lnTo>
                  <a:lnTo>
                    <a:pt x="81" y="548"/>
                  </a:lnTo>
                  <a:lnTo>
                    <a:pt x="78" y="546"/>
                  </a:lnTo>
                  <a:lnTo>
                    <a:pt x="77" y="543"/>
                  </a:lnTo>
                  <a:lnTo>
                    <a:pt x="77" y="543"/>
                  </a:lnTo>
                  <a:lnTo>
                    <a:pt x="77" y="535"/>
                  </a:lnTo>
                  <a:lnTo>
                    <a:pt x="77" y="531"/>
                  </a:lnTo>
                  <a:lnTo>
                    <a:pt x="75" y="529"/>
                  </a:lnTo>
                  <a:lnTo>
                    <a:pt x="73" y="526"/>
                  </a:lnTo>
                  <a:lnTo>
                    <a:pt x="69" y="524"/>
                  </a:lnTo>
                  <a:lnTo>
                    <a:pt x="59" y="516"/>
                  </a:lnTo>
                  <a:lnTo>
                    <a:pt x="59" y="516"/>
                  </a:lnTo>
                  <a:lnTo>
                    <a:pt x="55" y="522"/>
                  </a:lnTo>
                  <a:lnTo>
                    <a:pt x="52" y="530"/>
                  </a:lnTo>
                  <a:lnTo>
                    <a:pt x="48" y="539"/>
                  </a:lnTo>
                  <a:lnTo>
                    <a:pt x="46" y="542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34" y="543"/>
                  </a:lnTo>
                  <a:lnTo>
                    <a:pt x="26" y="540"/>
                  </a:lnTo>
                  <a:lnTo>
                    <a:pt x="26" y="540"/>
                  </a:lnTo>
                  <a:lnTo>
                    <a:pt x="24" y="537"/>
                  </a:lnTo>
                  <a:lnTo>
                    <a:pt x="21" y="533"/>
                  </a:lnTo>
                  <a:lnTo>
                    <a:pt x="18" y="529"/>
                  </a:lnTo>
                  <a:lnTo>
                    <a:pt x="18" y="529"/>
                  </a:lnTo>
                  <a:lnTo>
                    <a:pt x="24" y="518"/>
                  </a:lnTo>
                  <a:lnTo>
                    <a:pt x="25" y="512"/>
                  </a:lnTo>
                  <a:lnTo>
                    <a:pt x="26" y="502"/>
                  </a:lnTo>
                  <a:lnTo>
                    <a:pt x="26" y="502"/>
                  </a:lnTo>
                  <a:lnTo>
                    <a:pt x="26" y="491"/>
                  </a:lnTo>
                  <a:lnTo>
                    <a:pt x="25" y="487"/>
                  </a:lnTo>
                  <a:lnTo>
                    <a:pt x="22" y="485"/>
                  </a:lnTo>
                  <a:lnTo>
                    <a:pt x="16" y="478"/>
                  </a:lnTo>
                  <a:lnTo>
                    <a:pt x="4" y="470"/>
                  </a:lnTo>
                  <a:lnTo>
                    <a:pt x="4" y="470"/>
                  </a:lnTo>
                  <a:lnTo>
                    <a:pt x="9" y="465"/>
                  </a:lnTo>
                  <a:lnTo>
                    <a:pt x="9" y="463"/>
                  </a:lnTo>
                  <a:lnTo>
                    <a:pt x="9" y="461"/>
                  </a:lnTo>
                  <a:lnTo>
                    <a:pt x="7" y="455"/>
                  </a:lnTo>
                  <a:lnTo>
                    <a:pt x="2" y="446"/>
                  </a:lnTo>
                  <a:lnTo>
                    <a:pt x="2" y="446"/>
                  </a:lnTo>
                  <a:lnTo>
                    <a:pt x="16" y="433"/>
                  </a:lnTo>
                  <a:lnTo>
                    <a:pt x="16" y="416"/>
                  </a:lnTo>
                  <a:lnTo>
                    <a:pt x="25" y="398"/>
                  </a:lnTo>
                  <a:lnTo>
                    <a:pt x="16" y="381"/>
                  </a:lnTo>
                  <a:lnTo>
                    <a:pt x="2" y="380"/>
                  </a:lnTo>
                  <a:lnTo>
                    <a:pt x="0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42" y="342"/>
                  </a:lnTo>
                  <a:lnTo>
                    <a:pt x="42" y="342"/>
                  </a:lnTo>
                  <a:lnTo>
                    <a:pt x="47" y="327"/>
                  </a:lnTo>
                  <a:lnTo>
                    <a:pt x="50" y="314"/>
                  </a:lnTo>
                  <a:lnTo>
                    <a:pt x="52" y="302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62" y="285"/>
                  </a:lnTo>
                  <a:lnTo>
                    <a:pt x="69" y="280"/>
                  </a:lnTo>
                  <a:lnTo>
                    <a:pt x="72" y="244"/>
                  </a:lnTo>
                  <a:lnTo>
                    <a:pt x="72" y="237"/>
                  </a:lnTo>
                  <a:lnTo>
                    <a:pt x="81" y="233"/>
                  </a:lnTo>
                  <a:lnTo>
                    <a:pt x="99" y="257"/>
                  </a:lnTo>
                  <a:lnTo>
                    <a:pt x="99" y="257"/>
                  </a:lnTo>
                  <a:lnTo>
                    <a:pt x="114" y="251"/>
                  </a:lnTo>
                  <a:lnTo>
                    <a:pt x="125" y="249"/>
                  </a:lnTo>
                  <a:lnTo>
                    <a:pt x="131" y="248"/>
                  </a:lnTo>
                  <a:lnTo>
                    <a:pt x="131" y="248"/>
                  </a:lnTo>
                  <a:lnTo>
                    <a:pt x="132" y="249"/>
                  </a:lnTo>
                  <a:lnTo>
                    <a:pt x="134" y="251"/>
                  </a:lnTo>
                  <a:lnTo>
                    <a:pt x="135" y="257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53" y="267"/>
                  </a:lnTo>
                  <a:lnTo>
                    <a:pt x="166" y="270"/>
                  </a:lnTo>
                  <a:lnTo>
                    <a:pt x="171" y="271"/>
                  </a:lnTo>
                  <a:lnTo>
                    <a:pt x="175" y="273"/>
                  </a:lnTo>
                  <a:lnTo>
                    <a:pt x="175" y="273"/>
                  </a:lnTo>
                  <a:lnTo>
                    <a:pt x="180" y="272"/>
                  </a:lnTo>
                  <a:lnTo>
                    <a:pt x="187" y="273"/>
                  </a:lnTo>
                  <a:lnTo>
                    <a:pt x="195" y="275"/>
                  </a:lnTo>
                  <a:lnTo>
                    <a:pt x="209" y="275"/>
                  </a:lnTo>
                  <a:lnTo>
                    <a:pt x="223" y="280"/>
                  </a:lnTo>
                  <a:lnTo>
                    <a:pt x="223" y="238"/>
                  </a:lnTo>
                  <a:lnTo>
                    <a:pt x="252" y="237"/>
                  </a:lnTo>
                  <a:lnTo>
                    <a:pt x="259" y="249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9" y="258"/>
                  </a:lnTo>
                  <a:lnTo>
                    <a:pt x="284" y="263"/>
                  </a:lnTo>
                  <a:lnTo>
                    <a:pt x="288" y="266"/>
                  </a:lnTo>
                  <a:lnTo>
                    <a:pt x="288" y="266"/>
                  </a:lnTo>
                  <a:lnTo>
                    <a:pt x="289" y="263"/>
                  </a:lnTo>
                  <a:lnTo>
                    <a:pt x="291" y="258"/>
                  </a:lnTo>
                  <a:lnTo>
                    <a:pt x="292" y="254"/>
                  </a:lnTo>
                  <a:lnTo>
                    <a:pt x="294" y="250"/>
                  </a:lnTo>
                  <a:lnTo>
                    <a:pt x="294" y="250"/>
                  </a:lnTo>
                  <a:lnTo>
                    <a:pt x="300" y="250"/>
                  </a:lnTo>
                  <a:lnTo>
                    <a:pt x="302" y="250"/>
                  </a:lnTo>
                  <a:lnTo>
                    <a:pt x="302" y="249"/>
                  </a:lnTo>
                  <a:lnTo>
                    <a:pt x="302" y="246"/>
                  </a:lnTo>
                  <a:lnTo>
                    <a:pt x="303" y="244"/>
                  </a:lnTo>
                  <a:lnTo>
                    <a:pt x="303" y="244"/>
                  </a:lnTo>
                  <a:lnTo>
                    <a:pt x="309" y="236"/>
                  </a:lnTo>
                  <a:lnTo>
                    <a:pt x="310" y="231"/>
                  </a:lnTo>
                  <a:lnTo>
                    <a:pt x="310" y="227"/>
                  </a:lnTo>
                  <a:lnTo>
                    <a:pt x="310" y="227"/>
                  </a:lnTo>
                  <a:lnTo>
                    <a:pt x="309" y="227"/>
                  </a:lnTo>
                  <a:lnTo>
                    <a:pt x="306" y="227"/>
                  </a:lnTo>
                  <a:lnTo>
                    <a:pt x="303" y="227"/>
                  </a:lnTo>
                  <a:lnTo>
                    <a:pt x="303" y="215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2" y="213"/>
                  </a:lnTo>
                  <a:lnTo>
                    <a:pt x="323" y="209"/>
                  </a:lnTo>
                  <a:lnTo>
                    <a:pt x="323" y="203"/>
                  </a:lnTo>
                  <a:lnTo>
                    <a:pt x="342" y="202"/>
                  </a:lnTo>
                  <a:lnTo>
                    <a:pt x="353" y="181"/>
                  </a:lnTo>
                  <a:lnTo>
                    <a:pt x="370" y="170"/>
                  </a:lnTo>
                  <a:lnTo>
                    <a:pt x="383" y="158"/>
                  </a:lnTo>
                  <a:lnTo>
                    <a:pt x="381" y="135"/>
                  </a:lnTo>
                  <a:lnTo>
                    <a:pt x="381" y="135"/>
                  </a:lnTo>
                  <a:lnTo>
                    <a:pt x="383" y="132"/>
                  </a:lnTo>
                  <a:lnTo>
                    <a:pt x="388" y="124"/>
                  </a:lnTo>
                  <a:lnTo>
                    <a:pt x="390" y="119"/>
                  </a:lnTo>
                  <a:lnTo>
                    <a:pt x="392" y="114"/>
                  </a:lnTo>
                  <a:lnTo>
                    <a:pt x="393" y="108"/>
                  </a:lnTo>
                  <a:lnTo>
                    <a:pt x="392" y="101"/>
                  </a:lnTo>
                  <a:lnTo>
                    <a:pt x="392" y="101"/>
                  </a:lnTo>
                  <a:lnTo>
                    <a:pt x="390" y="95"/>
                  </a:lnTo>
                  <a:lnTo>
                    <a:pt x="386" y="88"/>
                  </a:lnTo>
                  <a:lnTo>
                    <a:pt x="379" y="78"/>
                  </a:lnTo>
                  <a:lnTo>
                    <a:pt x="371" y="69"/>
                  </a:lnTo>
                  <a:lnTo>
                    <a:pt x="368" y="66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4" y="56"/>
                  </a:lnTo>
                  <a:lnTo>
                    <a:pt x="364" y="51"/>
                  </a:lnTo>
                  <a:lnTo>
                    <a:pt x="366" y="45"/>
                  </a:lnTo>
                  <a:lnTo>
                    <a:pt x="367" y="40"/>
                  </a:lnTo>
                  <a:lnTo>
                    <a:pt x="370" y="35"/>
                  </a:lnTo>
                  <a:lnTo>
                    <a:pt x="373" y="31"/>
                  </a:lnTo>
                  <a:lnTo>
                    <a:pt x="384" y="21"/>
                  </a:lnTo>
                  <a:lnTo>
                    <a:pt x="384" y="21"/>
                  </a:lnTo>
                  <a:lnTo>
                    <a:pt x="386" y="18"/>
                  </a:lnTo>
                  <a:lnTo>
                    <a:pt x="389" y="14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403" y="9"/>
                  </a:lnTo>
                  <a:lnTo>
                    <a:pt x="408" y="9"/>
                  </a:lnTo>
                  <a:lnTo>
                    <a:pt x="411" y="9"/>
                  </a:lnTo>
                  <a:lnTo>
                    <a:pt x="412" y="8"/>
                  </a:lnTo>
                  <a:lnTo>
                    <a:pt x="420" y="0"/>
                  </a:lnTo>
                  <a:lnTo>
                    <a:pt x="420" y="0"/>
                  </a:lnTo>
                  <a:lnTo>
                    <a:pt x="438" y="16"/>
                  </a:lnTo>
                  <a:lnTo>
                    <a:pt x="450" y="34"/>
                  </a:lnTo>
                  <a:lnTo>
                    <a:pt x="464" y="34"/>
                  </a:lnTo>
                  <a:lnTo>
                    <a:pt x="460" y="14"/>
                  </a:lnTo>
                  <a:lnTo>
                    <a:pt x="472" y="0"/>
                  </a:lnTo>
                  <a:lnTo>
                    <a:pt x="494" y="1"/>
                  </a:lnTo>
                  <a:lnTo>
                    <a:pt x="511" y="8"/>
                  </a:lnTo>
                  <a:lnTo>
                    <a:pt x="511" y="8"/>
                  </a:lnTo>
                  <a:lnTo>
                    <a:pt x="512" y="17"/>
                  </a:lnTo>
                  <a:lnTo>
                    <a:pt x="515" y="25"/>
                  </a:lnTo>
                  <a:lnTo>
                    <a:pt x="517" y="29"/>
                  </a:lnTo>
                  <a:lnTo>
                    <a:pt x="517" y="29"/>
                  </a:lnTo>
                  <a:lnTo>
                    <a:pt x="521" y="29"/>
                  </a:lnTo>
                  <a:lnTo>
                    <a:pt x="526" y="30"/>
                  </a:lnTo>
                  <a:lnTo>
                    <a:pt x="529" y="31"/>
                  </a:lnTo>
                  <a:lnTo>
                    <a:pt x="532" y="32"/>
                  </a:lnTo>
                  <a:lnTo>
                    <a:pt x="533" y="36"/>
                  </a:lnTo>
                  <a:lnTo>
                    <a:pt x="533" y="41"/>
                  </a:lnTo>
                  <a:lnTo>
                    <a:pt x="533" y="41"/>
                  </a:lnTo>
                  <a:lnTo>
                    <a:pt x="533" y="45"/>
                  </a:lnTo>
                  <a:lnTo>
                    <a:pt x="532" y="48"/>
                  </a:lnTo>
                  <a:lnTo>
                    <a:pt x="532" y="53"/>
                  </a:lnTo>
                  <a:lnTo>
                    <a:pt x="533" y="54"/>
                  </a:lnTo>
                  <a:lnTo>
                    <a:pt x="535" y="56"/>
                  </a:lnTo>
                  <a:lnTo>
                    <a:pt x="539" y="57"/>
                  </a:lnTo>
                  <a:lnTo>
                    <a:pt x="547" y="56"/>
                  </a:lnTo>
                  <a:lnTo>
                    <a:pt x="547" y="56"/>
                  </a:lnTo>
                  <a:lnTo>
                    <a:pt x="551" y="57"/>
                  </a:lnTo>
                  <a:lnTo>
                    <a:pt x="555" y="58"/>
                  </a:lnTo>
                  <a:lnTo>
                    <a:pt x="557" y="64"/>
                  </a:lnTo>
                  <a:lnTo>
                    <a:pt x="557" y="64"/>
                  </a:lnTo>
                  <a:lnTo>
                    <a:pt x="567" y="73"/>
                  </a:lnTo>
                  <a:lnTo>
                    <a:pt x="570" y="75"/>
                  </a:lnTo>
                  <a:lnTo>
                    <a:pt x="574" y="76"/>
                  </a:lnTo>
                  <a:lnTo>
                    <a:pt x="577" y="76"/>
                  </a:lnTo>
                  <a:lnTo>
                    <a:pt x="581" y="74"/>
                  </a:lnTo>
                  <a:lnTo>
                    <a:pt x="591" y="65"/>
                  </a:lnTo>
                  <a:lnTo>
                    <a:pt x="591" y="65"/>
                  </a:lnTo>
                  <a:lnTo>
                    <a:pt x="591" y="44"/>
                  </a:lnTo>
                  <a:lnTo>
                    <a:pt x="591" y="44"/>
                  </a:lnTo>
                  <a:lnTo>
                    <a:pt x="616" y="41"/>
                  </a:lnTo>
                  <a:lnTo>
                    <a:pt x="633" y="40"/>
                  </a:lnTo>
                  <a:lnTo>
                    <a:pt x="638" y="40"/>
                  </a:lnTo>
                  <a:lnTo>
                    <a:pt x="640" y="40"/>
                  </a:lnTo>
                  <a:lnTo>
                    <a:pt x="640" y="40"/>
                  </a:lnTo>
                  <a:lnTo>
                    <a:pt x="643" y="53"/>
                  </a:lnTo>
                  <a:lnTo>
                    <a:pt x="643" y="53"/>
                  </a:lnTo>
                  <a:lnTo>
                    <a:pt x="652" y="53"/>
                  </a:lnTo>
                  <a:lnTo>
                    <a:pt x="657" y="54"/>
                  </a:lnTo>
                  <a:lnTo>
                    <a:pt x="665" y="57"/>
                  </a:lnTo>
                  <a:lnTo>
                    <a:pt x="665" y="57"/>
                  </a:lnTo>
                  <a:lnTo>
                    <a:pt x="669" y="57"/>
                  </a:lnTo>
                  <a:lnTo>
                    <a:pt x="675" y="56"/>
                  </a:lnTo>
                  <a:lnTo>
                    <a:pt x="688" y="48"/>
                  </a:lnTo>
                  <a:lnTo>
                    <a:pt x="688" y="48"/>
                  </a:lnTo>
                  <a:lnTo>
                    <a:pt x="691" y="43"/>
                  </a:lnTo>
                  <a:lnTo>
                    <a:pt x="694" y="39"/>
                  </a:lnTo>
                  <a:lnTo>
                    <a:pt x="695" y="39"/>
                  </a:lnTo>
                  <a:lnTo>
                    <a:pt x="696" y="39"/>
                  </a:lnTo>
                  <a:lnTo>
                    <a:pt x="697" y="40"/>
                  </a:lnTo>
                  <a:lnTo>
                    <a:pt x="700" y="43"/>
                  </a:lnTo>
                  <a:lnTo>
                    <a:pt x="700" y="43"/>
                  </a:lnTo>
                  <a:lnTo>
                    <a:pt x="704" y="51"/>
                  </a:lnTo>
                  <a:lnTo>
                    <a:pt x="708" y="57"/>
                  </a:lnTo>
                  <a:lnTo>
                    <a:pt x="714" y="66"/>
                  </a:lnTo>
                  <a:lnTo>
                    <a:pt x="721" y="71"/>
                  </a:lnTo>
                  <a:lnTo>
                    <a:pt x="722" y="74"/>
                  </a:lnTo>
                  <a:lnTo>
                    <a:pt x="722" y="76"/>
                  </a:lnTo>
                  <a:lnTo>
                    <a:pt x="722" y="76"/>
                  </a:lnTo>
                  <a:lnTo>
                    <a:pt x="722" y="83"/>
                  </a:lnTo>
                  <a:lnTo>
                    <a:pt x="718" y="108"/>
                  </a:lnTo>
                  <a:lnTo>
                    <a:pt x="718" y="108"/>
                  </a:lnTo>
                  <a:lnTo>
                    <a:pt x="718" y="111"/>
                  </a:lnTo>
                  <a:lnTo>
                    <a:pt x="721" y="115"/>
                  </a:lnTo>
                  <a:lnTo>
                    <a:pt x="723" y="119"/>
                  </a:lnTo>
                  <a:lnTo>
                    <a:pt x="729" y="122"/>
                  </a:lnTo>
                  <a:lnTo>
                    <a:pt x="740" y="124"/>
                  </a:lnTo>
                  <a:lnTo>
                    <a:pt x="754" y="127"/>
                  </a:lnTo>
                  <a:lnTo>
                    <a:pt x="769" y="127"/>
                  </a:lnTo>
                  <a:lnTo>
                    <a:pt x="780" y="127"/>
                  </a:lnTo>
                  <a:lnTo>
                    <a:pt x="792" y="127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30" y="106"/>
                  </a:lnTo>
                  <a:lnTo>
                    <a:pt x="844" y="104"/>
                  </a:lnTo>
                  <a:lnTo>
                    <a:pt x="850" y="102"/>
                  </a:lnTo>
                  <a:lnTo>
                    <a:pt x="850" y="102"/>
                  </a:lnTo>
                  <a:lnTo>
                    <a:pt x="852" y="105"/>
                  </a:lnTo>
                  <a:lnTo>
                    <a:pt x="853" y="108"/>
                  </a:lnTo>
                  <a:lnTo>
                    <a:pt x="854" y="113"/>
                  </a:lnTo>
                  <a:lnTo>
                    <a:pt x="858" y="118"/>
                  </a:lnTo>
                  <a:lnTo>
                    <a:pt x="858" y="118"/>
                  </a:lnTo>
                  <a:lnTo>
                    <a:pt x="862" y="130"/>
                  </a:lnTo>
                  <a:lnTo>
                    <a:pt x="863" y="143"/>
                  </a:lnTo>
                  <a:lnTo>
                    <a:pt x="866" y="157"/>
                  </a:lnTo>
                  <a:lnTo>
                    <a:pt x="866" y="157"/>
                  </a:lnTo>
                  <a:lnTo>
                    <a:pt x="867" y="157"/>
                  </a:lnTo>
                  <a:lnTo>
                    <a:pt x="870" y="156"/>
                  </a:lnTo>
                  <a:lnTo>
                    <a:pt x="876" y="153"/>
                  </a:lnTo>
                  <a:lnTo>
                    <a:pt x="885" y="149"/>
                  </a:lnTo>
                  <a:lnTo>
                    <a:pt x="885" y="149"/>
                  </a:lnTo>
                  <a:lnTo>
                    <a:pt x="893" y="152"/>
                  </a:lnTo>
                  <a:lnTo>
                    <a:pt x="900" y="153"/>
                  </a:lnTo>
                  <a:lnTo>
                    <a:pt x="911" y="154"/>
                  </a:lnTo>
                  <a:lnTo>
                    <a:pt x="920" y="154"/>
                  </a:lnTo>
                  <a:lnTo>
                    <a:pt x="927" y="154"/>
                  </a:lnTo>
                  <a:lnTo>
                    <a:pt x="927" y="154"/>
                  </a:lnTo>
                  <a:lnTo>
                    <a:pt x="932" y="163"/>
                  </a:lnTo>
                  <a:lnTo>
                    <a:pt x="938" y="161"/>
                  </a:lnTo>
                  <a:lnTo>
                    <a:pt x="946" y="171"/>
                  </a:lnTo>
                  <a:lnTo>
                    <a:pt x="990" y="170"/>
                  </a:lnTo>
                  <a:lnTo>
                    <a:pt x="990" y="180"/>
                  </a:lnTo>
                  <a:lnTo>
                    <a:pt x="1001" y="180"/>
                  </a:lnTo>
                  <a:lnTo>
                    <a:pt x="1001" y="188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7" name="Freeform 195"/>
            <p:cNvSpPr>
              <a:spLocks/>
            </p:cNvSpPr>
            <p:nvPr/>
          </p:nvSpPr>
          <p:spPr bwMode="auto">
            <a:xfrm>
              <a:off x="5778500" y="1797050"/>
              <a:ext cx="1146175" cy="1381125"/>
            </a:xfrm>
            <a:custGeom>
              <a:avLst/>
              <a:gdLst>
                <a:gd name="T0" fmla="*/ 701 w 722"/>
                <a:gd name="T1" fmla="*/ 505 h 870"/>
                <a:gd name="T2" fmla="*/ 669 w 722"/>
                <a:gd name="T3" fmla="*/ 538 h 870"/>
                <a:gd name="T4" fmla="*/ 670 w 722"/>
                <a:gd name="T5" fmla="*/ 563 h 870"/>
                <a:gd name="T6" fmla="*/ 641 w 722"/>
                <a:gd name="T7" fmla="*/ 585 h 870"/>
                <a:gd name="T8" fmla="*/ 617 w 722"/>
                <a:gd name="T9" fmla="*/ 590 h 870"/>
                <a:gd name="T10" fmla="*/ 592 w 722"/>
                <a:gd name="T11" fmla="*/ 621 h 870"/>
                <a:gd name="T12" fmla="*/ 619 w 722"/>
                <a:gd name="T13" fmla="*/ 652 h 870"/>
                <a:gd name="T14" fmla="*/ 649 w 722"/>
                <a:gd name="T15" fmla="*/ 665 h 870"/>
                <a:gd name="T16" fmla="*/ 678 w 722"/>
                <a:gd name="T17" fmla="*/ 683 h 870"/>
                <a:gd name="T18" fmla="*/ 683 w 722"/>
                <a:gd name="T19" fmla="*/ 727 h 870"/>
                <a:gd name="T20" fmla="*/ 696 w 722"/>
                <a:gd name="T21" fmla="*/ 760 h 870"/>
                <a:gd name="T22" fmla="*/ 669 w 722"/>
                <a:gd name="T23" fmla="*/ 810 h 870"/>
                <a:gd name="T24" fmla="*/ 583 w 722"/>
                <a:gd name="T25" fmla="*/ 794 h 870"/>
                <a:gd name="T26" fmla="*/ 542 w 722"/>
                <a:gd name="T27" fmla="*/ 736 h 870"/>
                <a:gd name="T28" fmla="*/ 491 w 722"/>
                <a:gd name="T29" fmla="*/ 721 h 870"/>
                <a:gd name="T30" fmla="*/ 454 w 722"/>
                <a:gd name="T31" fmla="*/ 731 h 870"/>
                <a:gd name="T32" fmla="*/ 444 w 722"/>
                <a:gd name="T33" fmla="*/ 784 h 870"/>
                <a:gd name="T34" fmla="*/ 397 w 722"/>
                <a:gd name="T35" fmla="*/ 796 h 870"/>
                <a:gd name="T36" fmla="*/ 373 w 722"/>
                <a:gd name="T37" fmla="*/ 806 h 870"/>
                <a:gd name="T38" fmla="*/ 332 w 722"/>
                <a:gd name="T39" fmla="*/ 818 h 870"/>
                <a:gd name="T40" fmla="*/ 284 w 722"/>
                <a:gd name="T41" fmla="*/ 839 h 870"/>
                <a:gd name="T42" fmla="*/ 244 w 722"/>
                <a:gd name="T43" fmla="*/ 870 h 870"/>
                <a:gd name="T44" fmla="*/ 259 w 722"/>
                <a:gd name="T45" fmla="*/ 822 h 870"/>
                <a:gd name="T46" fmla="*/ 238 w 722"/>
                <a:gd name="T47" fmla="*/ 799 h 870"/>
                <a:gd name="T48" fmla="*/ 201 w 722"/>
                <a:gd name="T49" fmla="*/ 778 h 870"/>
                <a:gd name="T50" fmla="*/ 162 w 722"/>
                <a:gd name="T51" fmla="*/ 755 h 870"/>
                <a:gd name="T52" fmla="*/ 117 w 722"/>
                <a:gd name="T53" fmla="*/ 766 h 870"/>
                <a:gd name="T54" fmla="*/ 105 w 722"/>
                <a:gd name="T55" fmla="*/ 740 h 870"/>
                <a:gd name="T56" fmla="*/ 114 w 722"/>
                <a:gd name="T57" fmla="*/ 721 h 870"/>
                <a:gd name="T58" fmla="*/ 65 w 722"/>
                <a:gd name="T59" fmla="*/ 643 h 870"/>
                <a:gd name="T60" fmla="*/ 92 w 722"/>
                <a:gd name="T61" fmla="*/ 602 h 870"/>
                <a:gd name="T62" fmla="*/ 127 w 722"/>
                <a:gd name="T63" fmla="*/ 590 h 870"/>
                <a:gd name="T64" fmla="*/ 91 w 722"/>
                <a:gd name="T65" fmla="*/ 574 h 870"/>
                <a:gd name="T66" fmla="*/ 76 w 722"/>
                <a:gd name="T67" fmla="*/ 537 h 870"/>
                <a:gd name="T68" fmla="*/ 71 w 722"/>
                <a:gd name="T69" fmla="*/ 402 h 870"/>
                <a:gd name="T70" fmla="*/ 82 w 722"/>
                <a:gd name="T71" fmla="*/ 343 h 870"/>
                <a:gd name="T72" fmla="*/ 52 w 722"/>
                <a:gd name="T73" fmla="*/ 353 h 870"/>
                <a:gd name="T74" fmla="*/ 25 w 722"/>
                <a:gd name="T75" fmla="*/ 326 h 870"/>
                <a:gd name="T76" fmla="*/ 39 w 722"/>
                <a:gd name="T77" fmla="*/ 296 h 870"/>
                <a:gd name="T78" fmla="*/ 13 w 722"/>
                <a:gd name="T79" fmla="*/ 293 h 870"/>
                <a:gd name="T80" fmla="*/ 18 w 722"/>
                <a:gd name="T81" fmla="*/ 267 h 870"/>
                <a:gd name="T82" fmla="*/ 19 w 722"/>
                <a:gd name="T83" fmla="*/ 212 h 870"/>
                <a:gd name="T84" fmla="*/ 49 w 722"/>
                <a:gd name="T85" fmla="*/ 199 h 870"/>
                <a:gd name="T86" fmla="*/ 67 w 722"/>
                <a:gd name="T87" fmla="*/ 201 h 870"/>
                <a:gd name="T88" fmla="*/ 93 w 722"/>
                <a:gd name="T89" fmla="*/ 201 h 870"/>
                <a:gd name="T90" fmla="*/ 110 w 722"/>
                <a:gd name="T91" fmla="*/ 219 h 870"/>
                <a:gd name="T92" fmla="*/ 111 w 722"/>
                <a:gd name="T93" fmla="*/ 195 h 870"/>
                <a:gd name="T94" fmla="*/ 119 w 722"/>
                <a:gd name="T95" fmla="*/ 177 h 870"/>
                <a:gd name="T96" fmla="*/ 135 w 722"/>
                <a:gd name="T97" fmla="*/ 164 h 870"/>
                <a:gd name="T98" fmla="*/ 148 w 722"/>
                <a:gd name="T99" fmla="*/ 149 h 870"/>
                <a:gd name="T100" fmla="*/ 172 w 722"/>
                <a:gd name="T101" fmla="*/ 147 h 870"/>
                <a:gd name="T102" fmla="*/ 209 w 722"/>
                <a:gd name="T103" fmla="*/ 95 h 870"/>
                <a:gd name="T104" fmla="*/ 330 w 722"/>
                <a:gd name="T105" fmla="*/ 30 h 870"/>
                <a:gd name="T106" fmla="*/ 362 w 722"/>
                <a:gd name="T107" fmla="*/ 7 h 870"/>
                <a:gd name="T108" fmla="*/ 377 w 722"/>
                <a:gd name="T109" fmla="*/ 7 h 870"/>
                <a:gd name="T110" fmla="*/ 368 w 722"/>
                <a:gd name="T111" fmla="*/ 38 h 870"/>
                <a:gd name="T112" fmla="*/ 327 w 722"/>
                <a:gd name="T113" fmla="*/ 60 h 870"/>
                <a:gd name="T114" fmla="*/ 710 w 722"/>
                <a:gd name="T115" fmla="*/ 460 h 8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2" h="870">
                  <a:moveTo>
                    <a:pt x="713" y="481"/>
                  </a:moveTo>
                  <a:lnTo>
                    <a:pt x="710" y="488"/>
                  </a:lnTo>
                  <a:lnTo>
                    <a:pt x="710" y="488"/>
                  </a:lnTo>
                  <a:lnTo>
                    <a:pt x="713" y="489"/>
                  </a:lnTo>
                  <a:lnTo>
                    <a:pt x="714" y="492"/>
                  </a:lnTo>
                  <a:lnTo>
                    <a:pt x="714" y="494"/>
                  </a:lnTo>
                  <a:lnTo>
                    <a:pt x="713" y="495"/>
                  </a:lnTo>
                  <a:lnTo>
                    <a:pt x="709" y="499"/>
                  </a:lnTo>
                  <a:lnTo>
                    <a:pt x="708" y="501"/>
                  </a:lnTo>
                  <a:lnTo>
                    <a:pt x="708" y="501"/>
                  </a:lnTo>
                  <a:lnTo>
                    <a:pt x="701" y="505"/>
                  </a:lnTo>
                  <a:lnTo>
                    <a:pt x="695" y="508"/>
                  </a:lnTo>
                  <a:lnTo>
                    <a:pt x="695" y="508"/>
                  </a:lnTo>
                  <a:lnTo>
                    <a:pt x="697" y="514"/>
                  </a:lnTo>
                  <a:lnTo>
                    <a:pt x="698" y="516"/>
                  </a:lnTo>
                  <a:lnTo>
                    <a:pt x="700" y="519"/>
                  </a:lnTo>
                  <a:lnTo>
                    <a:pt x="700" y="519"/>
                  </a:lnTo>
                  <a:lnTo>
                    <a:pt x="689" y="534"/>
                  </a:lnTo>
                  <a:lnTo>
                    <a:pt x="689" y="534"/>
                  </a:lnTo>
                  <a:lnTo>
                    <a:pt x="678" y="534"/>
                  </a:lnTo>
                  <a:lnTo>
                    <a:pt x="674" y="536"/>
                  </a:lnTo>
                  <a:lnTo>
                    <a:pt x="669" y="538"/>
                  </a:lnTo>
                  <a:lnTo>
                    <a:pt x="669" y="538"/>
                  </a:lnTo>
                  <a:lnTo>
                    <a:pt x="663" y="538"/>
                  </a:lnTo>
                  <a:lnTo>
                    <a:pt x="661" y="538"/>
                  </a:lnTo>
                  <a:lnTo>
                    <a:pt x="660" y="540"/>
                  </a:lnTo>
                  <a:lnTo>
                    <a:pt x="660" y="540"/>
                  </a:lnTo>
                  <a:lnTo>
                    <a:pt x="660" y="542"/>
                  </a:lnTo>
                  <a:lnTo>
                    <a:pt x="661" y="546"/>
                  </a:lnTo>
                  <a:lnTo>
                    <a:pt x="663" y="552"/>
                  </a:lnTo>
                  <a:lnTo>
                    <a:pt x="663" y="552"/>
                  </a:lnTo>
                  <a:lnTo>
                    <a:pt x="667" y="558"/>
                  </a:lnTo>
                  <a:lnTo>
                    <a:pt x="670" y="563"/>
                  </a:lnTo>
                  <a:lnTo>
                    <a:pt x="671" y="565"/>
                  </a:lnTo>
                  <a:lnTo>
                    <a:pt x="671" y="565"/>
                  </a:lnTo>
                  <a:lnTo>
                    <a:pt x="669" y="565"/>
                  </a:lnTo>
                  <a:lnTo>
                    <a:pt x="665" y="565"/>
                  </a:lnTo>
                  <a:lnTo>
                    <a:pt x="660" y="565"/>
                  </a:lnTo>
                  <a:lnTo>
                    <a:pt x="660" y="565"/>
                  </a:lnTo>
                  <a:lnTo>
                    <a:pt x="657" y="571"/>
                  </a:lnTo>
                  <a:lnTo>
                    <a:pt x="654" y="574"/>
                  </a:lnTo>
                  <a:lnTo>
                    <a:pt x="651" y="577"/>
                  </a:lnTo>
                  <a:lnTo>
                    <a:pt x="651" y="577"/>
                  </a:lnTo>
                  <a:lnTo>
                    <a:pt x="641" y="585"/>
                  </a:lnTo>
                  <a:lnTo>
                    <a:pt x="641" y="585"/>
                  </a:lnTo>
                  <a:lnTo>
                    <a:pt x="634" y="586"/>
                  </a:lnTo>
                  <a:lnTo>
                    <a:pt x="628" y="587"/>
                  </a:lnTo>
                  <a:lnTo>
                    <a:pt x="626" y="589"/>
                  </a:lnTo>
                  <a:lnTo>
                    <a:pt x="623" y="589"/>
                  </a:lnTo>
                  <a:lnTo>
                    <a:pt x="621" y="587"/>
                  </a:lnTo>
                  <a:lnTo>
                    <a:pt x="618" y="585"/>
                  </a:lnTo>
                  <a:lnTo>
                    <a:pt x="618" y="585"/>
                  </a:lnTo>
                  <a:lnTo>
                    <a:pt x="617" y="585"/>
                  </a:lnTo>
                  <a:lnTo>
                    <a:pt x="617" y="586"/>
                  </a:lnTo>
                  <a:lnTo>
                    <a:pt x="617" y="590"/>
                  </a:lnTo>
                  <a:lnTo>
                    <a:pt x="616" y="593"/>
                  </a:lnTo>
                  <a:lnTo>
                    <a:pt x="613" y="595"/>
                  </a:lnTo>
                  <a:lnTo>
                    <a:pt x="609" y="597"/>
                  </a:lnTo>
                  <a:lnTo>
                    <a:pt x="609" y="597"/>
                  </a:lnTo>
                  <a:lnTo>
                    <a:pt x="601" y="600"/>
                  </a:lnTo>
                  <a:lnTo>
                    <a:pt x="596" y="604"/>
                  </a:lnTo>
                  <a:lnTo>
                    <a:pt x="592" y="609"/>
                  </a:lnTo>
                  <a:lnTo>
                    <a:pt x="592" y="609"/>
                  </a:lnTo>
                  <a:lnTo>
                    <a:pt x="591" y="613"/>
                  </a:lnTo>
                  <a:lnTo>
                    <a:pt x="591" y="617"/>
                  </a:lnTo>
                  <a:lnTo>
                    <a:pt x="592" y="621"/>
                  </a:lnTo>
                  <a:lnTo>
                    <a:pt x="592" y="621"/>
                  </a:lnTo>
                  <a:lnTo>
                    <a:pt x="596" y="625"/>
                  </a:lnTo>
                  <a:lnTo>
                    <a:pt x="599" y="628"/>
                  </a:lnTo>
                  <a:lnTo>
                    <a:pt x="600" y="629"/>
                  </a:lnTo>
                  <a:lnTo>
                    <a:pt x="600" y="629"/>
                  </a:lnTo>
                  <a:lnTo>
                    <a:pt x="609" y="637"/>
                  </a:lnTo>
                  <a:lnTo>
                    <a:pt x="609" y="637"/>
                  </a:lnTo>
                  <a:lnTo>
                    <a:pt x="613" y="643"/>
                  </a:lnTo>
                  <a:lnTo>
                    <a:pt x="614" y="644"/>
                  </a:lnTo>
                  <a:lnTo>
                    <a:pt x="614" y="644"/>
                  </a:lnTo>
                  <a:lnTo>
                    <a:pt x="619" y="652"/>
                  </a:lnTo>
                  <a:lnTo>
                    <a:pt x="622" y="654"/>
                  </a:lnTo>
                  <a:lnTo>
                    <a:pt x="625" y="654"/>
                  </a:lnTo>
                  <a:lnTo>
                    <a:pt x="628" y="654"/>
                  </a:lnTo>
                  <a:lnTo>
                    <a:pt x="628" y="654"/>
                  </a:lnTo>
                  <a:lnTo>
                    <a:pt x="632" y="656"/>
                  </a:lnTo>
                  <a:lnTo>
                    <a:pt x="636" y="659"/>
                  </a:lnTo>
                  <a:lnTo>
                    <a:pt x="644" y="660"/>
                  </a:lnTo>
                  <a:lnTo>
                    <a:pt x="644" y="660"/>
                  </a:lnTo>
                  <a:lnTo>
                    <a:pt x="645" y="661"/>
                  </a:lnTo>
                  <a:lnTo>
                    <a:pt x="647" y="663"/>
                  </a:lnTo>
                  <a:lnTo>
                    <a:pt x="649" y="665"/>
                  </a:lnTo>
                  <a:lnTo>
                    <a:pt x="653" y="665"/>
                  </a:lnTo>
                  <a:lnTo>
                    <a:pt x="653" y="665"/>
                  </a:lnTo>
                  <a:lnTo>
                    <a:pt x="656" y="667"/>
                  </a:lnTo>
                  <a:lnTo>
                    <a:pt x="656" y="669"/>
                  </a:lnTo>
                  <a:lnTo>
                    <a:pt x="657" y="670"/>
                  </a:lnTo>
                  <a:lnTo>
                    <a:pt x="658" y="673"/>
                  </a:lnTo>
                  <a:lnTo>
                    <a:pt x="658" y="673"/>
                  </a:lnTo>
                  <a:lnTo>
                    <a:pt x="667" y="678"/>
                  </a:lnTo>
                  <a:lnTo>
                    <a:pt x="674" y="681"/>
                  </a:lnTo>
                  <a:lnTo>
                    <a:pt x="678" y="683"/>
                  </a:lnTo>
                  <a:lnTo>
                    <a:pt x="678" y="683"/>
                  </a:lnTo>
                  <a:lnTo>
                    <a:pt x="675" y="686"/>
                  </a:lnTo>
                  <a:lnTo>
                    <a:pt x="675" y="689"/>
                  </a:lnTo>
                  <a:lnTo>
                    <a:pt x="676" y="692"/>
                  </a:lnTo>
                  <a:lnTo>
                    <a:pt x="676" y="692"/>
                  </a:lnTo>
                  <a:lnTo>
                    <a:pt x="678" y="696"/>
                  </a:lnTo>
                  <a:lnTo>
                    <a:pt x="678" y="700"/>
                  </a:lnTo>
                  <a:lnTo>
                    <a:pt x="676" y="704"/>
                  </a:lnTo>
                  <a:lnTo>
                    <a:pt x="679" y="709"/>
                  </a:lnTo>
                  <a:lnTo>
                    <a:pt x="679" y="709"/>
                  </a:lnTo>
                  <a:lnTo>
                    <a:pt x="680" y="721"/>
                  </a:lnTo>
                  <a:lnTo>
                    <a:pt x="683" y="727"/>
                  </a:lnTo>
                  <a:lnTo>
                    <a:pt x="683" y="727"/>
                  </a:lnTo>
                  <a:lnTo>
                    <a:pt x="686" y="729"/>
                  </a:lnTo>
                  <a:lnTo>
                    <a:pt x="688" y="729"/>
                  </a:lnTo>
                  <a:lnTo>
                    <a:pt x="691" y="729"/>
                  </a:lnTo>
                  <a:lnTo>
                    <a:pt x="692" y="729"/>
                  </a:lnTo>
                  <a:lnTo>
                    <a:pt x="692" y="729"/>
                  </a:lnTo>
                  <a:lnTo>
                    <a:pt x="693" y="733"/>
                  </a:lnTo>
                  <a:lnTo>
                    <a:pt x="696" y="742"/>
                  </a:lnTo>
                  <a:lnTo>
                    <a:pt x="700" y="755"/>
                  </a:lnTo>
                  <a:lnTo>
                    <a:pt x="700" y="755"/>
                  </a:lnTo>
                  <a:lnTo>
                    <a:pt x="696" y="760"/>
                  </a:lnTo>
                  <a:lnTo>
                    <a:pt x="695" y="762"/>
                  </a:lnTo>
                  <a:lnTo>
                    <a:pt x="695" y="764"/>
                  </a:lnTo>
                  <a:lnTo>
                    <a:pt x="695" y="764"/>
                  </a:lnTo>
                  <a:lnTo>
                    <a:pt x="695" y="769"/>
                  </a:lnTo>
                  <a:lnTo>
                    <a:pt x="691" y="778"/>
                  </a:lnTo>
                  <a:lnTo>
                    <a:pt x="680" y="801"/>
                  </a:lnTo>
                  <a:lnTo>
                    <a:pt x="680" y="801"/>
                  </a:lnTo>
                  <a:lnTo>
                    <a:pt x="674" y="806"/>
                  </a:lnTo>
                  <a:lnTo>
                    <a:pt x="671" y="809"/>
                  </a:lnTo>
                  <a:lnTo>
                    <a:pt x="669" y="810"/>
                  </a:lnTo>
                  <a:lnTo>
                    <a:pt x="669" y="810"/>
                  </a:lnTo>
                  <a:lnTo>
                    <a:pt x="662" y="812"/>
                  </a:lnTo>
                  <a:lnTo>
                    <a:pt x="656" y="810"/>
                  </a:lnTo>
                  <a:lnTo>
                    <a:pt x="645" y="809"/>
                  </a:lnTo>
                  <a:lnTo>
                    <a:pt x="645" y="809"/>
                  </a:lnTo>
                  <a:lnTo>
                    <a:pt x="638" y="808"/>
                  </a:lnTo>
                  <a:lnTo>
                    <a:pt x="627" y="805"/>
                  </a:lnTo>
                  <a:lnTo>
                    <a:pt x="617" y="803"/>
                  </a:lnTo>
                  <a:lnTo>
                    <a:pt x="610" y="801"/>
                  </a:lnTo>
                  <a:lnTo>
                    <a:pt x="610" y="801"/>
                  </a:lnTo>
                  <a:lnTo>
                    <a:pt x="595" y="797"/>
                  </a:lnTo>
                  <a:lnTo>
                    <a:pt x="583" y="794"/>
                  </a:lnTo>
                  <a:lnTo>
                    <a:pt x="574" y="786"/>
                  </a:lnTo>
                  <a:lnTo>
                    <a:pt x="569" y="790"/>
                  </a:lnTo>
                  <a:lnTo>
                    <a:pt x="569" y="790"/>
                  </a:lnTo>
                  <a:lnTo>
                    <a:pt x="559" y="782"/>
                  </a:lnTo>
                  <a:lnTo>
                    <a:pt x="559" y="782"/>
                  </a:lnTo>
                  <a:lnTo>
                    <a:pt x="560" y="768"/>
                  </a:lnTo>
                  <a:lnTo>
                    <a:pt x="560" y="755"/>
                  </a:lnTo>
                  <a:lnTo>
                    <a:pt x="559" y="749"/>
                  </a:lnTo>
                  <a:lnTo>
                    <a:pt x="557" y="746"/>
                  </a:lnTo>
                  <a:lnTo>
                    <a:pt x="557" y="746"/>
                  </a:lnTo>
                  <a:lnTo>
                    <a:pt x="542" y="736"/>
                  </a:lnTo>
                  <a:lnTo>
                    <a:pt x="533" y="733"/>
                  </a:lnTo>
                  <a:lnTo>
                    <a:pt x="533" y="733"/>
                  </a:lnTo>
                  <a:lnTo>
                    <a:pt x="527" y="733"/>
                  </a:lnTo>
                  <a:lnTo>
                    <a:pt x="520" y="734"/>
                  </a:lnTo>
                  <a:lnTo>
                    <a:pt x="514" y="734"/>
                  </a:lnTo>
                  <a:lnTo>
                    <a:pt x="509" y="733"/>
                  </a:lnTo>
                  <a:lnTo>
                    <a:pt x="503" y="730"/>
                  </a:lnTo>
                  <a:lnTo>
                    <a:pt x="498" y="726"/>
                  </a:lnTo>
                  <a:lnTo>
                    <a:pt x="498" y="726"/>
                  </a:lnTo>
                  <a:lnTo>
                    <a:pt x="495" y="724"/>
                  </a:lnTo>
                  <a:lnTo>
                    <a:pt x="491" y="721"/>
                  </a:lnTo>
                  <a:lnTo>
                    <a:pt x="487" y="720"/>
                  </a:lnTo>
                  <a:lnTo>
                    <a:pt x="483" y="718"/>
                  </a:lnTo>
                  <a:lnTo>
                    <a:pt x="478" y="718"/>
                  </a:lnTo>
                  <a:lnTo>
                    <a:pt x="473" y="720"/>
                  </a:lnTo>
                  <a:lnTo>
                    <a:pt x="473" y="720"/>
                  </a:lnTo>
                  <a:lnTo>
                    <a:pt x="460" y="724"/>
                  </a:lnTo>
                  <a:lnTo>
                    <a:pt x="457" y="725"/>
                  </a:lnTo>
                  <a:lnTo>
                    <a:pt x="456" y="726"/>
                  </a:lnTo>
                  <a:lnTo>
                    <a:pt x="455" y="729"/>
                  </a:lnTo>
                  <a:lnTo>
                    <a:pt x="455" y="730"/>
                  </a:lnTo>
                  <a:lnTo>
                    <a:pt x="454" y="731"/>
                  </a:lnTo>
                  <a:lnTo>
                    <a:pt x="454" y="731"/>
                  </a:lnTo>
                  <a:lnTo>
                    <a:pt x="451" y="735"/>
                  </a:lnTo>
                  <a:lnTo>
                    <a:pt x="448" y="739"/>
                  </a:lnTo>
                  <a:lnTo>
                    <a:pt x="448" y="743"/>
                  </a:lnTo>
                  <a:lnTo>
                    <a:pt x="448" y="743"/>
                  </a:lnTo>
                  <a:lnTo>
                    <a:pt x="448" y="755"/>
                  </a:lnTo>
                  <a:lnTo>
                    <a:pt x="447" y="764"/>
                  </a:lnTo>
                  <a:lnTo>
                    <a:pt x="446" y="769"/>
                  </a:lnTo>
                  <a:lnTo>
                    <a:pt x="443" y="773"/>
                  </a:lnTo>
                  <a:lnTo>
                    <a:pt x="443" y="773"/>
                  </a:lnTo>
                  <a:lnTo>
                    <a:pt x="444" y="784"/>
                  </a:lnTo>
                  <a:lnTo>
                    <a:pt x="444" y="792"/>
                  </a:lnTo>
                  <a:lnTo>
                    <a:pt x="443" y="795"/>
                  </a:lnTo>
                  <a:lnTo>
                    <a:pt x="441" y="795"/>
                  </a:lnTo>
                  <a:lnTo>
                    <a:pt x="441" y="795"/>
                  </a:lnTo>
                  <a:lnTo>
                    <a:pt x="438" y="795"/>
                  </a:lnTo>
                  <a:lnTo>
                    <a:pt x="434" y="792"/>
                  </a:lnTo>
                  <a:lnTo>
                    <a:pt x="429" y="790"/>
                  </a:lnTo>
                  <a:lnTo>
                    <a:pt x="422" y="787"/>
                  </a:lnTo>
                  <a:lnTo>
                    <a:pt x="422" y="787"/>
                  </a:lnTo>
                  <a:lnTo>
                    <a:pt x="407" y="792"/>
                  </a:lnTo>
                  <a:lnTo>
                    <a:pt x="397" y="796"/>
                  </a:lnTo>
                  <a:lnTo>
                    <a:pt x="397" y="796"/>
                  </a:lnTo>
                  <a:lnTo>
                    <a:pt x="395" y="800"/>
                  </a:lnTo>
                  <a:lnTo>
                    <a:pt x="394" y="805"/>
                  </a:lnTo>
                  <a:lnTo>
                    <a:pt x="394" y="810"/>
                  </a:lnTo>
                  <a:lnTo>
                    <a:pt x="391" y="814"/>
                  </a:lnTo>
                  <a:lnTo>
                    <a:pt x="391" y="814"/>
                  </a:lnTo>
                  <a:lnTo>
                    <a:pt x="390" y="814"/>
                  </a:lnTo>
                  <a:lnTo>
                    <a:pt x="387" y="814"/>
                  </a:lnTo>
                  <a:lnTo>
                    <a:pt x="384" y="812"/>
                  </a:lnTo>
                  <a:lnTo>
                    <a:pt x="378" y="808"/>
                  </a:lnTo>
                  <a:lnTo>
                    <a:pt x="373" y="806"/>
                  </a:lnTo>
                  <a:lnTo>
                    <a:pt x="373" y="806"/>
                  </a:lnTo>
                  <a:lnTo>
                    <a:pt x="371" y="808"/>
                  </a:lnTo>
                  <a:lnTo>
                    <a:pt x="368" y="809"/>
                  </a:lnTo>
                  <a:lnTo>
                    <a:pt x="362" y="814"/>
                  </a:lnTo>
                  <a:lnTo>
                    <a:pt x="354" y="818"/>
                  </a:lnTo>
                  <a:lnTo>
                    <a:pt x="349" y="821"/>
                  </a:lnTo>
                  <a:lnTo>
                    <a:pt x="343" y="822"/>
                  </a:lnTo>
                  <a:lnTo>
                    <a:pt x="343" y="822"/>
                  </a:lnTo>
                  <a:lnTo>
                    <a:pt x="340" y="822"/>
                  </a:lnTo>
                  <a:lnTo>
                    <a:pt x="337" y="821"/>
                  </a:lnTo>
                  <a:lnTo>
                    <a:pt x="332" y="818"/>
                  </a:lnTo>
                  <a:lnTo>
                    <a:pt x="329" y="817"/>
                  </a:lnTo>
                  <a:lnTo>
                    <a:pt x="328" y="818"/>
                  </a:lnTo>
                  <a:lnTo>
                    <a:pt x="325" y="821"/>
                  </a:lnTo>
                  <a:lnTo>
                    <a:pt x="323" y="827"/>
                  </a:lnTo>
                  <a:lnTo>
                    <a:pt x="323" y="827"/>
                  </a:lnTo>
                  <a:lnTo>
                    <a:pt x="319" y="828"/>
                  </a:lnTo>
                  <a:lnTo>
                    <a:pt x="307" y="830"/>
                  </a:lnTo>
                  <a:lnTo>
                    <a:pt x="295" y="832"/>
                  </a:lnTo>
                  <a:lnTo>
                    <a:pt x="286" y="835"/>
                  </a:lnTo>
                  <a:lnTo>
                    <a:pt x="286" y="835"/>
                  </a:lnTo>
                  <a:lnTo>
                    <a:pt x="284" y="839"/>
                  </a:lnTo>
                  <a:lnTo>
                    <a:pt x="280" y="841"/>
                  </a:lnTo>
                  <a:lnTo>
                    <a:pt x="271" y="848"/>
                  </a:lnTo>
                  <a:lnTo>
                    <a:pt x="262" y="853"/>
                  </a:lnTo>
                  <a:lnTo>
                    <a:pt x="259" y="856"/>
                  </a:lnTo>
                  <a:lnTo>
                    <a:pt x="257" y="860"/>
                  </a:lnTo>
                  <a:lnTo>
                    <a:pt x="257" y="860"/>
                  </a:lnTo>
                  <a:lnTo>
                    <a:pt x="254" y="862"/>
                  </a:lnTo>
                  <a:lnTo>
                    <a:pt x="253" y="866"/>
                  </a:lnTo>
                  <a:lnTo>
                    <a:pt x="249" y="869"/>
                  </a:lnTo>
                  <a:lnTo>
                    <a:pt x="246" y="870"/>
                  </a:lnTo>
                  <a:lnTo>
                    <a:pt x="244" y="870"/>
                  </a:lnTo>
                  <a:lnTo>
                    <a:pt x="228" y="853"/>
                  </a:lnTo>
                  <a:lnTo>
                    <a:pt x="228" y="853"/>
                  </a:lnTo>
                  <a:lnTo>
                    <a:pt x="232" y="847"/>
                  </a:lnTo>
                  <a:lnTo>
                    <a:pt x="236" y="838"/>
                  </a:lnTo>
                  <a:lnTo>
                    <a:pt x="236" y="838"/>
                  </a:lnTo>
                  <a:lnTo>
                    <a:pt x="242" y="834"/>
                  </a:lnTo>
                  <a:lnTo>
                    <a:pt x="249" y="830"/>
                  </a:lnTo>
                  <a:lnTo>
                    <a:pt x="249" y="830"/>
                  </a:lnTo>
                  <a:lnTo>
                    <a:pt x="254" y="830"/>
                  </a:lnTo>
                  <a:lnTo>
                    <a:pt x="257" y="827"/>
                  </a:lnTo>
                  <a:lnTo>
                    <a:pt x="259" y="822"/>
                  </a:lnTo>
                  <a:lnTo>
                    <a:pt x="259" y="822"/>
                  </a:lnTo>
                  <a:lnTo>
                    <a:pt x="258" y="821"/>
                  </a:lnTo>
                  <a:lnTo>
                    <a:pt x="255" y="819"/>
                  </a:lnTo>
                  <a:lnTo>
                    <a:pt x="250" y="816"/>
                  </a:lnTo>
                  <a:lnTo>
                    <a:pt x="244" y="813"/>
                  </a:lnTo>
                  <a:lnTo>
                    <a:pt x="238" y="810"/>
                  </a:lnTo>
                  <a:lnTo>
                    <a:pt x="238" y="810"/>
                  </a:lnTo>
                  <a:lnTo>
                    <a:pt x="237" y="804"/>
                  </a:lnTo>
                  <a:lnTo>
                    <a:pt x="237" y="801"/>
                  </a:lnTo>
                  <a:lnTo>
                    <a:pt x="238" y="799"/>
                  </a:lnTo>
                  <a:lnTo>
                    <a:pt x="238" y="799"/>
                  </a:lnTo>
                  <a:lnTo>
                    <a:pt x="228" y="784"/>
                  </a:lnTo>
                  <a:lnTo>
                    <a:pt x="223" y="787"/>
                  </a:lnTo>
                  <a:lnTo>
                    <a:pt x="223" y="787"/>
                  </a:lnTo>
                  <a:lnTo>
                    <a:pt x="216" y="781"/>
                  </a:lnTo>
                  <a:lnTo>
                    <a:pt x="211" y="775"/>
                  </a:lnTo>
                  <a:lnTo>
                    <a:pt x="209" y="770"/>
                  </a:lnTo>
                  <a:lnTo>
                    <a:pt x="209" y="770"/>
                  </a:lnTo>
                  <a:lnTo>
                    <a:pt x="205" y="773"/>
                  </a:lnTo>
                  <a:lnTo>
                    <a:pt x="201" y="777"/>
                  </a:lnTo>
                  <a:lnTo>
                    <a:pt x="201" y="777"/>
                  </a:lnTo>
                  <a:lnTo>
                    <a:pt x="201" y="778"/>
                  </a:lnTo>
                  <a:lnTo>
                    <a:pt x="201" y="781"/>
                  </a:lnTo>
                  <a:lnTo>
                    <a:pt x="200" y="783"/>
                  </a:lnTo>
                  <a:lnTo>
                    <a:pt x="197" y="786"/>
                  </a:lnTo>
                  <a:lnTo>
                    <a:pt x="196" y="787"/>
                  </a:lnTo>
                  <a:lnTo>
                    <a:pt x="196" y="787"/>
                  </a:lnTo>
                  <a:lnTo>
                    <a:pt x="193" y="784"/>
                  </a:lnTo>
                  <a:lnTo>
                    <a:pt x="190" y="778"/>
                  </a:lnTo>
                  <a:lnTo>
                    <a:pt x="188" y="770"/>
                  </a:lnTo>
                  <a:lnTo>
                    <a:pt x="192" y="764"/>
                  </a:lnTo>
                  <a:lnTo>
                    <a:pt x="183" y="757"/>
                  </a:lnTo>
                  <a:lnTo>
                    <a:pt x="162" y="755"/>
                  </a:lnTo>
                  <a:lnTo>
                    <a:pt x="162" y="755"/>
                  </a:lnTo>
                  <a:lnTo>
                    <a:pt x="161" y="756"/>
                  </a:lnTo>
                  <a:lnTo>
                    <a:pt x="158" y="760"/>
                  </a:lnTo>
                  <a:lnTo>
                    <a:pt x="153" y="762"/>
                  </a:lnTo>
                  <a:lnTo>
                    <a:pt x="149" y="762"/>
                  </a:lnTo>
                  <a:lnTo>
                    <a:pt x="146" y="762"/>
                  </a:lnTo>
                  <a:lnTo>
                    <a:pt x="146" y="762"/>
                  </a:lnTo>
                  <a:lnTo>
                    <a:pt x="132" y="766"/>
                  </a:lnTo>
                  <a:lnTo>
                    <a:pt x="124" y="768"/>
                  </a:lnTo>
                  <a:lnTo>
                    <a:pt x="121" y="768"/>
                  </a:lnTo>
                  <a:lnTo>
                    <a:pt x="117" y="766"/>
                  </a:lnTo>
                  <a:lnTo>
                    <a:pt x="117" y="766"/>
                  </a:lnTo>
                  <a:lnTo>
                    <a:pt x="113" y="765"/>
                  </a:lnTo>
                  <a:lnTo>
                    <a:pt x="106" y="761"/>
                  </a:lnTo>
                  <a:lnTo>
                    <a:pt x="101" y="756"/>
                  </a:lnTo>
                  <a:lnTo>
                    <a:pt x="100" y="753"/>
                  </a:lnTo>
                  <a:lnTo>
                    <a:pt x="100" y="751"/>
                  </a:lnTo>
                  <a:lnTo>
                    <a:pt x="100" y="751"/>
                  </a:lnTo>
                  <a:lnTo>
                    <a:pt x="101" y="748"/>
                  </a:lnTo>
                  <a:lnTo>
                    <a:pt x="104" y="746"/>
                  </a:lnTo>
                  <a:lnTo>
                    <a:pt x="105" y="743"/>
                  </a:lnTo>
                  <a:lnTo>
                    <a:pt x="105" y="740"/>
                  </a:lnTo>
                  <a:lnTo>
                    <a:pt x="104" y="738"/>
                  </a:lnTo>
                  <a:lnTo>
                    <a:pt x="101" y="734"/>
                  </a:lnTo>
                  <a:lnTo>
                    <a:pt x="101" y="734"/>
                  </a:lnTo>
                  <a:lnTo>
                    <a:pt x="101" y="730"/>
                  </a:lnTo>
                  <a:lnTo>
                    <a:pt x="104" y="727"/>
                  </a:lnTo>
                  <a:lnTo>
                    <a:pt x="104" y="727"/>
                  </a:lnTo>
                  <a:lnTo>
                    <a:pt x="110" y="726"/>
                  </a:lnTo>
                  <a:lnTo>
                    <a:pt x="113" y="725"/>
                  </a:lnTo>
                  <a:lnTo>
                    <a:pt x="114" y="724"/>
                  </a:lnTo>
                  <a:lnTo>
                    <a:pt x="114" y="721"/>
                  </a:lnTo>
                  <a:lnTo>
                    <a:pt x="114" y="721"/>
                  </a:lnTo>
                  <a:lnTo>
                    <a:pt x="111" y="711"/>
                  </a:lnTo>
                  <a:lnTo>
                    <a:pt x="109" y="704"/>
                  </a:lnTo>
                  <a:lnTo>
                    <a:pt x="109" y="704"/>
                  </a:lnTo>
                  <a:lnTo>
                    <a:pt x="110" y="690"/>
                  </a:lnTo>
                  <a:lnTo>
                    <a:pt x="111" y="677"/>
                  </a:lnTo>
                  <a:lnTo>
                    <a:pt x="110" y="673"/>
                  </a:lnTo>
                  <a:lnTo>
                    <a:pt x="109" y="669"/>
                  </a:lnTo>
                  <a:lnTo>
                    <a:pt x="104" y="654"/>
                  </a:lnTo>
                  <a:lnTo>
                    <a:pt x="65" y="646"/>
                  </a:lnTo>
                  <a:lnTo>
                    <a:pt x="65" y="646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7" y="635"/>
                  </a:lnTo>
                  <a:lnTo>
                    <a:pt x="71" y="630"/>
                  </a:lnTo>
                  <a:lnTo>
                    <a:pt x="76" y="624"/>
                  </a:lnTo>
                  <a:lnTo>
                    <a:pt x="76" y="624"/>
                  </a:lnTo>
                  <a:lnTo>
                    <a:pt x="79" y="616"/>
                  </a:lnTo>
                  <a:lnTo>
                    <a:pt x="79" y="613"/>
                  </a:lnTo>
                  <a:lnTo>
                    <a:pt x="80" y="611"/>
                  </a:lnTo>
                  <a:lnTo>
                    <a:pt x="80" y="611"/>
                  </a:lnTo>
                  <a:lnTo>
                    <a:pt x="87" y="606"/>
                  </a:lnTo>
                  <a:lnTo>
                    <a:pt x="92" y="602"/>
                  </a:lnTo>
                  <a:lnTo>
                    <a:pt x="101" y="598"/>
                  </a:lnTo>
                  <a:lnTo>
                    <a:pt x="108" y="597"/>
                  </a:lnTo>
                  <a:lnTo>
                    <a:pt x="113" y="595"/>
                  </a:lnTo>
                  <a:lnTo>
                    <a:pt x="113" y="595"/>
                  </a:lnTo>
                  <a:lnTo>
                    <a:pt x="117" y="594"/>
                  </a:lnTo>
                  <a:lnTo>
                    <a:pt x="118" y="593"/>
                  </a:lnTo>
                  <a:lnTo>
                    <a:pt x="119" y="591"/>
                  </a:lnTo>
                  <a:lnTo>
                    <a:pt x="122" y="591"/>
                  </a:lnTo>
                  <a:lnTo>
                    <a:pt x="122" y="591"/>
                  </a:lnTo>
                  <a:lnTo>
                    <a:pt x="126" y="591"/>
                  </a:lnTo>
                  <a:lnTo>
                    <a:pt x="127" y="590"/>
                  </a:lnTo>
                  <a:lnTo>
                    <a:pt x="128" y="589"/>
                  </a:lnTo>
                  <a:lnTo>
                    <a:pt x="128" y="587"/>
                  </a:lnTo>
                  <a:lnTo>
                    <a:pt x="127" y="584"/>
                  </a:lnTo>
                  <a:lnTo>
                    <a:pt x="126" y="582"/>
                  </a:lnTo>
                  <a:lnTo>
                    <a:pt x="126" y="582"/>
                  </a:lnTo>
                  <a:lnTo>
                    <a:pt x="102" y="578"/>
                  </a:lnTo>
                  <a:lnTo>
                    <a:pt x="102" y="578"/>
                  </a:lnTo>
                  <a:lnTo>
                    <a:pt x="100" y="576"/>
                  </a:lnTo>
                  <a:lnTo>
                    <a:pt x="98" y="573"/>
                  </a:lnTo>
                  <a:lnTo>
                    <a:pt x="98" y="573"/>
                  </a:lnTo>
                  <a:lnTo>
                    <a:pt x="91" y="574"/>
                  </a:lnTo>
                  <a:lnTo>
                    <a:pt x="83" y="576"/>
                  </a:lnTo>
                  <a:lnTo>
                    <a:pt x="73" y="576"/>
                  </a:lnTo>
                  <a:lnTo>
                    <a:pt x="73" y="576"/>
                  </a:lnTo>
                  <a:lnTo>
                    <a:pt x="71" y="558"/>
                  </a:lnTo>
                  <a:lnTo>
                    <a:pt x="71" y="558"/>
                  </a:lnTo>
                  <a:lnTo>
                    <a:pt x="73" y="551"/>
                  </a:lnTo>
                  <a:lnTo>
                    <a:pt x="73" y="546"/>
                  </a:lnTo>
                  <a:lnTo>
                    <a:pt x="73" y="542"/>
                  </a:lnTo>
                  <a:lnTo>
                    <a:pt x="73" y="541"/>
                  </a:lnTo>
                  <a:lnTo>
                    <a:pt x="73" y="541"/>
                  </a:lnTo>
                  <a:lnTo>
                    <a:pt x="76" y="537"/>
                  </a:lnTo>
                  <a:lnTo>
                    <a:pt x="79" y="533"/>
                  </a:lnTo>
                  <a:lnTo>
                    <a:pt x="83" y="530"/>
                  </a:lnTo>
                  <a:lnTo>
                    <a:pt x="84" y="527"/>
                  </a:lnTo>
                  <a:lnTo>
                    <a:pt x="84" y="527"/>
                  </a:lnTo>
                  <a:lnTo>
                    <a:pt x="88" y="523"/>
                  </a:lnTo>
                  <a:lnTo>
                    <a:pt x="92" y="521"/>
                  </a:lnTo>
                  <a:lnTo>
                    <a:pt x="96" y="520"/>
                  </a:lnTo>
                  <a:lnTo>
                    <a:pt x="96" y="516"/>
                  </a:lnTo>
                  <a:lnTo>
                    <a:pt x="93" y="516"/>
                  </a:lnTo>
                  <a:lnTo>
                    <a:pt x="82" y="402"/>
                  </a:lnTo>
                  <a:lnTo>
                    <a:pt x="71" y="402"/>
                  </a:lnTo>
                  <a:lnTo>
                    <a:pt x="71" y="385"/>
                  </a:lnTo>
                  <a:lnTo>
                    <a:pt x="52" y="387"/>
                  </a:lnTo>
                  <a:lnTo>
                    <a:pt x="41" y="376"/>
                  </a:lnTo>
                  <a:lnTo>
                    <a:pt x="47" y="371"/>
                  </a:lnTo>
                  <a:lnTo>
                    <a:pt x="53" y="372"/>
                  </a:lnTo>
                  <a:lnTo>
                    <a:pt x="64" y="381"/>
                  </a:lnTo>
                  <a:lnTo>
                    <a:pt x="71" y="381"/>
                  </a:lnTo>
                  <a:lnTo>
                    <a:pt x="69" y="361"/>
                  </a:lnTo>
                  <a:lnTo>
                    <a:pt x="76" y="358"/>
                  </a:lnTo>
                  <a:lnTo>
                    <a:pt x="75" y="346"/>
                  </a:lnTo>
                  <a:lnTo>
                    <a:pt x="82" y="343"/>
                  </a:lnTo>
                  <a:lnTo>
                    <a:pt x="74" y="327"/>
                  </a:lnTo>
                  <a:lnTo>
                    <a:pt x="74" y="327"/>
                  </a:lnTo>
                  <a:lnTo>
                    <a:pt x="67" y="331"/>
                  </a:lnTo>
                  <a:lnTo>
                    <a:pt x="62" y="333"/>
                  </a:lnTo>
                  <a:lnTo>
                    <a:pt x="57" y="335"/>
                  </a:lnTo>
                  <a:lnTo>
                    <a:pt x="57" y="335"/>
                  </a:lnTo>
                  <a:lnTo>
                    <a:pt x="56" y="340"/>
                  </a:lnTo>
                  <a:lnTo>
                    <a:pt x="53" y="345"/>
                  </a:lnTo>
                  <a:lnTo>
                    <a:pt x="51" y="349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43" y="353"/>
                  </a:lnTo>
                  <a:lnTo>
                    <a:pt x="38" y="353"/>
                  </a:lnTo>
                  <a:lnTo>
                    <a:pt x="34" y="353"/>
                  </a:lnTo>
                  <a:lnTo>
                    <a:pt x="34" y="353"/>
                  </a:lnTo>
                  <a:lnTo>
                    <a:pt x="32" y="349"/>
                  </a:lnTo>
                  <a:lnTo>
                    <a:pt x="31" y="345"/>
                  </a:lnTo>
                  <a:lnTo>
                    <a:pt x="31" y="339"/>
                  </a:lnTo>
                  <a:lnTo>
                    <a:pt x="36" y="330"/>
                  </a:lnTo>
                  <a:lnTo>
                    <a:pt x="29" y="320"/>
                  </a:lnTo>
                  <a:lnTo>
                    <a:pt x="29" y="320"/>
                  </a:lnTo>
                  <a:lnTo>
                    <a:pt x="25" y="326"/>
                  </a:lnTo>
                  <a:lnTo>
                    <a:pt x="22" y="328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9" y="327"/>
                  </a:lnTo>
                  <a:lnTo>
                    <a:pt x="21" y="323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30" y="308"/>
                  </a:lnTo>
                  <a:lnTo>
                    <a:pt x="35" y="300"/>
                  </a:lnTo>
                  <a:lnTo>
                    <a:pt x="39" y="296"/>
                  </a:lnTo>
                  <a:lnTo>
                    <a:pt x="39" y="296"/>
                  </a:lnTo>
                  <a:lnTo>
                    <a:pt x="43" y="291"/>
                  </a:lnTo>
                  <a:lnTo>
                    <a:pt x="44" y="287"/>
                  </a:lnTo>
                  <a:lnTo>
                    <a:pt x="44" y="284"/>
                  </a:lnTo>
                  <a:lnTo>
                    <a:pt x="44" y="282"/>
                  </a:lnTo>
                  <a:lnTo>
                    <a:pt x="41" y="280"/>
                  </a:lnTo>
                  <a:lnTo>
                    <a:pt x="39" y="279"/>
                  </a:lnTo>
                  <a:lnTo>
                    <a:pt x="35" y="279"/>
                  </a:lnTo>
                  <a:lnTo>
                    <a:pt x="31" y="280"/>
                  </a:lnTo>
                  <a:lnTo>
                    <a:pt x="31" y="280"/>
                  </a:lnTo>
                  <a:lnTo>
                    <a:pt x="18" y="289"/>
                  </a:lnTo>
                  <a:lnTo>
                    <a:pt x="13" y="293"/>
                  </a:lnTo>
                  <a:lnTo>
                    <a:pt x="5" y="295"/>
                  </a:lnTo>
                  <a:lnTo>
                    <a:pt x="5" y="295"/>
                  </a:lnTo>
                  <a:lnTo>
                    <a:pt x="3" y="291"/>
                  </a:lnTo>
                  <a:lnTo>
                    <a:pt x="1" y="284"/>
                  </a:lnTo>
                  <a:lnTo>
                    <a:pt x="0" y="275"/>
                  </a:lnTo>
                  <a:lnTo>
                    <a:pt x="3" y="266"/>
                  </a:lnTo>
                  <a:lnTo>
                    <a:pt x="3" y="266"/>
                  </a:lnTo>
                  <a:lnTo>
                    <a:pt x="12" y="267"/>
                  </a:lnTo>
                  <a:lnTo>
                    <a:pt x="12" y="267"/>
                  </a:lnTo>
                  <a:lnTo>
                    <a:pt x="14" y="267"/>
                  </a:lnTo>
                  <a:lnTo>
                    <a:pt x="18" y="267"/>
                  </a:lnTo>
                  <a:lnTo>
                    <a:pt x="19" y="266"/>
                  </a:lnTo>
                  <a:lnTo>
                    <a:pt x="21" y="266"/>
                  </a:lnTo>
                  <a:lnTo>
                    <a:pt x="22" y="263"/>
                  </a:lnTo>
                  <a:lnTo>
                    <a:pt x="21" y="261"/>
                  </a:lnTo>
                  <a:lnTo>
                    <a:pt x="21" y="261"/>
                  </a:lnTo>
                  <a:lnTo>
                    <a:pt x="3" y="236"/>
                  </a:lnTo>
                  <a:lnTo>
                    <a:pt x="3" y="236"/>
                  </a:lnTo>
                  <a:lnTo>
                    <a:pt x="10" y="228"/>
                  </a:lnTo>
                  <a:lnTo>
                    <a:pt x="16" y="221"/>
                  </a:lnTo>
                  <a:lnTo>
                    <a:pt x="19" y="212"/>
                  </a:lnTo>
                  <a:lnTo>
                    <a:pt x="19" y="212"/>
                  </a:lnTo>
                  <a:lnTo>
                    <a:pt x="21" y="209"/>
                  </a:lnTo>
                  <a:lnTo>
                    <a:pt x="23" y="206"/>
                  </a:lnTo>
                  <a:lnTo>
                    <a:pt x="26" y="204"/>
                  </a:lnTo>
                  <a:lnTo>
                    <a:pt x="30" y="203"/>
                  </a:lnTo>
                  <a:lnTo>
                    <a:pt x="30" y="203"/>
                  </a:lnTo>
                  <a:lnTo>
                    <a:pt x="34" y="203"/>
                  </a:lnTo>
                  <a:lnTo>
                    <a:pt x="40" y="204"/>
                  </a:lnTo>
                  <a:lnTo>
                    <a:pt x="43" y="204"/>
                  </a:lnTo>
                  <a:lnTo>
                    <a:pt x="45" y="203"/>
                  </a:lnTo>
                  <a:lnTo>
                    <a:pt x="47" y="201"/>
                  </a:lnTo>
                  <a:lnTo>
                    <a:pt x="49" y="199"/>
                  </a:lnTo>
                  <a:lnTo>
                    <a:pt x="49" y="199"/>
                  </a:lnTo>
                  <a:lnTo>
                    <a:pt x="51" y="195"/>
                  </a:lnTo>
                  <a:lnTo>
                    <a:pt x="54" y="192"/>
                  </a:lnTo>
                  <a:lnTo>
                    <a:pt x="57" y="191"/>
                  </a:lnTo>
                  <a:lnTo>
                    <a:pt x="61" y="191"/>
                  </a:lnTo>
                  <a:lnTo>
                    <a:pt x="65" y="191"/>
                  </a:lnTo>
                  <a:lnTo>
                    <a:pt x="67" y="192"/>
                  </a:lnTo>
                  <a:lnTo>
                    <a:pt x="69" y="193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7" y="201"/>
                  </a:lnTo>
                  <a:lnTo>
                    <a:pt x="70" y="205"/>
                  </a:lnTo>
                  <a:lnTo>
                    <a:pt x="73" y="208"/>
                  </a:lnTo>
                  <a:lnTo>
                    <a:pt x="76" y="206"/>
                  </a:lnTo>
                  <a:lnTo>
                    <a:pt x="76" y="206"/>
                  </a:lnTo>
                  <a:lnTo>
                    <a:pt x="80" y="204"/>
                  </a:lnTo>
                  <a:lnTo>
                    <a:pt x="83" y="201"/>
                  </a:lnTo>
                  <a:lnTo>
                    <a:pt x="86" y="199"/>
                  </a:lnTo>
                  <a:lnTo>
                    <a:pt x="87" y="199"/>
                  </a:lnTo>
                  <a:lnTo>
                    <a:pt x="89" y="199"/>
                  </a:lnTo>
                  <a:lnTo>
                    <a:pt x="89" y="199"/>
                  </a:lnTo>
                  <a:lnTo>
                    <a:pt x="93" y="201"/>
                  </a:lnTo>
                  <a:lnTo>
                    <a:pt x="96" y="204"/>
                  </a:lnTo>
                  <a:lnTo>
                    <a:pt x="97" y="206"/>
                  </a:lnTo>
                  <a:lnTo>
                    <a:pt x="97" y="209"/>
                  </a:lnTo>
                  <a:lnTo>
                    <a:pt x="97" y="216"/>
                  </a:lnTo>
                  <a:lnTo>
                    <a:pt x="98" y="217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6" y="222"/>
                  </a:lnTo>
                  <a:lnTo>
                    <a:pt x="109" y="222"/>
                  </a:lnTo>
                  <a:lnTo>
                    <a:pt x="110" y="221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3" y="216"/>
                  </a:lnTo>
                  <a:lnTo>
                    <a:pt x="115" y="213"/>
                  </a:lnTo>
                  <a:lnTo>
                    <a:pt x="117" y="212"/>
                  </a:lnTo>
                  <a:lnTo>
                    <a:pt x="119" y="208"/>
                  </a:lnTo>
                  <a:lnTo>
                    <a:pt x="119" y="208"/>
                  </a:lnTo>
                  <a:lnTo>
                    <a:pt x="119" y="204"/>
                  </a:lnTo>
                  <a:lnTo>
                    <a:pt x="118" y="203"/>
                  </a:lnTo>
                  <a:lnTo>
                    <a:pt x="114" y="199"/>
                  </a:lnTo>
                  <a:lnTo>
                    <a:pt x="113" y="196"/>
                  </a:lnTo>
                  <a:lnTo>
                    <a:pt x="111" y="195"/>
                  </a:lnTo>
                  <a:lnTo>
                    <a:pt x="111" y="192"/>
                  </a:lnTo>
                  <a:lnTo>
                    <a:pt x="113" y="190"/>
                  </a:lnTo>
                  <a:lnTo>
                    <a:pt x="113" y="190"/>
                  </a:lnTo>
                  <a:lnTo>
                    <a:pt x="113" y="186"/>
                  </a:lnTo>
                  <a:lnTo>
                    <a:pt x="113" y="182"/>
                  </a:lnTo>
                  <a:lnTo>
                    <a:pt x="113" y="178"/>
                  </a:lnTo>
                  <a:lnTo>
                    <a:pt x="113" y="177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7" y="175"/>
                  </a:lnTo>
                  <a:lnTo>
                    <a:pt x="119" y="177"/>
                  </a:lnTo>
                  <a:lnTo>
                    <a:pt x="123" y="179"/>
                  </a:lnTo>
                  <a:lnTo>
                    <a:pt x="128" y="182"/>
                  </a:lnTo>
                  <a:lnTo>
                    <a:pt x="130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5" y="179"/>
                  </a:lnTo>
                  <a:lnTo>
                    <a:pt x="136" y="177"/>
                  </a:lnTo>
                  <a:lnTo>
                    <a:pt x="136" y="173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6" y="162"/>
                  </a:lnTo>
                  <a:lnTo>
                    <a:pt x="140" y="164"/>
                  </a:lnTo>
                  <a:lnTo>
                    <a:pt x="144" y="165"/>
                  </a:lnTo>
                  <a:lnTo>
                    <a:pt x="146" y="165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9" y="161"/>
                  </a:lnTo>
                  <a:lnTo>
                    <a:pt x="149" y="160"/>
                  </a:lnTo>
                  <a:lnTo>
                    <a:pt x="149" y="155"/>
                  </a:lnTo>
                  <a:lnTo>
                    <a:pt x="148" y="149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50" y="147"/>
                  </a:lnTo>
                  <a:lnTo>
                    <a:pt x="153" y="148"/>
                  </a:lnTo>
                  <a:lnTo>
                    <a:pt x="157" y="148"/>
                  </a:lnTo>
                  <a:lnTo>
                    <a:pt x="162" y="147"/>
                  </a:lnTo>
                  <a:lnTo>
                    <a:pt x="162" y="147"/>
                  </a:lnTo>
                  <a:lnTo>
                    <a:pt x="166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2" y="147"/>
                  </a:lnTo>
                  <a:lnTo>
                    <a:pt x="175" y="148"/>
                  </a:lnTo>
                  <a:lnTo>
                    <a:pt x="176" y="151"/>
                  </a:lnTo>
                  <a:lnTo>
                    <a:pt x="176" y="151"/>
                  </a:lnTo>
                  <a:lnTo>
                    <a:pt x="209" y="116"/>
                  </a:lnTo>
                  <a:lnTo>
                    <a:pt x="209" y="116"/>
                  </a:lnTo>
                  <a:lnTo>
                    <a:pt x="215" y="113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6" y="107"/>
                  </a:lnTo>
                  <a:lnTo>
                    <a:pt x="213" y="101"/>
                  </a:lnTo>
                  <a:lnTo>
                    <a:pt x="209" y="95"/>
                  </a:lnTo>
                  <a:lnTo>
                    <a:pt x="224" y="86"/>
                  </a:lnTo>
                  <a:lnTo>
                    <a:pt x="236" y="86"/>
                  </a:lnTo>
                  <a:lnTo>
                    <a:pt x="295" y="50"/>
                  </a:lnTo>
                  <a:lnTo>
                    <a:pt x="294" y="39"/>
                  </a:lnTo>
                  <a:lnTo>
                    <a:pt x="303" y="28"/>
                  </a:lnTo>
                  <a:lnTo>
                    <a:pt x="303" y="28"/>
                  </a:lnTo>
                  <a:lnTo>
                    <a:pt x="312" y="30"/>
                  </a:lnTo>
                  <a:lnTo>
                    <a:pt x="321" y="32"/>
                  </a:lnTo>
                  <a:lnTo>
                    <a:pt x="327" y="32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7" y="29"/>
                  </a:lnTo>
                  <a:lnTo>
                    <a:pt x="343" y="26"/>
                  </a:lnTo>
                  <a:lnTo>
                    <a:pt x="347" y="25"/>
                  </a:lnTo>
                  <a:lnTo>
                    <a:pt x="349" y="22"/>
                  </a:lnTo>
                  <a:lnTo>
                    <a:pt x="350" y="19"/>
                  </a:lnTo>
                  <a:lnTo>
                    <a:pt x="350" y="15"/>
                  </a:lnTo>
                  <a:lnTo>
                    <a:pt x="350" y="15"/>
                  </a:lnTo>
                  <a:lnTo>
                    <a:pt x="352" y="11"/>
                  </a:lnTo>
                  <a:lnTo>
                    <a:pt x="354" y="8"/>
                  </a:lnTo>
                  <a:lnTo>
                    <a:pt x="358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5" y="6"/>
                  </a:lnTo>
                  <a:lnTo>
                    <a:pt x="369" y="3"/>
                  </a:lnTo>
                  <a:lnTo>
                    <a:pt x="371" y="2"/>
                  </a:lnTo>
                  <a:lnTo>
                    <a:pt x="372" y="0"/>
                  </a:lnTo>
                  <a:lnTo>
                    <a:pt x="372" y="0"/>
                  </a:lnTo>
                  <a:lnTo>
                    <a:pt x="373" y="2"/>
                  </a:lnTo>
                  <a:lnTo>
                    <a:pt x="376" y="3"/>
                  </a:lnTo>
                  <a:lnTo>
                    <a:pt x="377" y="6"/>
                  </a:lnTo>
                  <a:lnTo>
                    <a:pt x="377" y="7"/>
                  </a:lnTo>
                  <a:lnTo>
                    <a:pt x="377" y="7"/>
                  </a:lnTo>
                  <a:lnTo>
                    <a:pt x="373" y="8"/>
                  </a:lnTo>
                  <a:lnTo>
                    <a:pt x="367" y="11"/>
                  </a:lnTo>
                  <a:lnTo>
                    <a:pt x="367" y="11"/>
                  </a:lnTo>
                  <a:lnTo>
                    <a:pt x="365" y="13"/>
                  </a:lnTo>
                  <a:lnTo>
                    <a:pt x="365" y="17"/>
                  </a:lnTo>
                  <a:lnTo>
                    <a:pt x="367" y="21"/>
                  </a:lnTo>
                  <a:lnTo>
                    <a:pt x="367" y="21"/>
                  </a:lnTo>
                  <a:lnTo>
                    <a:pt x="369" y="28"/>
                  </a:lnTo>
                  <a:lnTo>
                    <a:pt x="369" y="33"/>
                  </a:lnTo>
                  <a:lnTo>
                    <a:pt x="369" y="35"/>
                  </a:lnTo>
                  <a:lnTo>
                    <a:pt x="368" y="38"/>
                  </a:lnTo>
                  <a:lnTo>
                    <a:pt x="368" y="38"/>
                  </a:lnTo>
                  <a:lnTo>
                    <a:pt x="365" y="43"/>
                  </a:lnTo>
                  <a:lnTo>
                    <a:pt x="364" y="50"/>
                  </a:lnTo>
                  <a:lnTo>
                    <a:pt x="362" y="55"/>
                  </a:lnTo>
                  <a:lnTo>
                    <a:pt x="358" y="60"/>
                  </a:lnTo>
                  <a:lnTo>
                    <a:pt x="358" y="60"/>
                  </a:lnTo>
                  <a:lnTo>
                    <a:pt x="352" y="61"/>
                  </a:lnTo>
                  <a:lnTo>
                    <a:pt x="347" y="61"/>
                  </a:lnTo>
                  <a:lnTo>
                    <a:pt x="336" y="60"/>
                  </a:lnTo>
                  <a:lnTo>
                    <a:pt x="330" y="59"/>
                  </a:lnTo>
                  <a:lnTo>
                    <a:pt x="327" y="60"/>
                  </a:lnTo>
                  <a:lnTo>
                    <a:pt x="325" y="64"/>
                  </a:lnTo>
                  <a:lnTo>
                    <a:pt x="324" y="69"/>
                  </a:lnTo>
                  <a:lnTo>
                    <a:pt x="324" y="69"/>
                  </a:lnTo>
                  <a:lnTo>
                    <a:pt x="327" y="73"/>
                  </a:lnTo>
                  <a:lnTo>
                    <a:pt x="330" y="81"/>
                  </a:lnTo>
                  <a:lnTo>
                    <a:pt x="338" y="90"/>
                  </a:lnTo>
                  <a:lnTo>
                    <a:pt x="513" y="206"/>
                  </a:lnTo>
                  <a:lnTo>
                    <a:pt x="513" y="206"/>
                  </a:lnTo>
                  <a:lnTo>
                    <a:pt x="613" y="333"/>
                  </a:lnTo>
                  <a:lnTo>
                    <a:pt x="684" y="427"/>
                  </a:lnTo>
                  <a:lnTo>
                    <a:pt x="710" y="460"/>
                  </a:lnTo>
                  <a:lnTo>
                    <a:pt x="722" y="480"/>
                  </a:lnTo>
                  <a:lnTo>
                    <a:pt x="713" y="481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8" name="Freeform 196"/>
            <p:cNvSpPr>
              <a:spLocks/>
            </p:cNvSpPr>
            <p:nvPr/>
          </p:nvSpPr>
          <p:spPr bwMode="auto">
            <a:xfrm>
              <a:off x="5054599" y="4382224"/>
              <a:ext cx="1516063" cy="1158875"/>
            </a:xfrm>
            <a:custGeom>
              <a:avLst/>
              <a:gdLst>
                <a:gd name="T0" fmla="*/ 264 w 955"/>
                <a:gd name="T1" fmla="*/ 720 h 730"/>
                <a:gd name="T2" fmla="*/ 254 w 955"/>
                <a:gd name="T3" fmla="*/ 707 h 730"/>
                <a:gd name="T4" fmla="*/ 231 w 955"/>
                <a:gd name="T5" fmla="*/ 686 h 730"/>
                <a:gd name="T6" fmla="*/ 207 w 955"/>
                <a:gd name="T7" fmla="*/ 670 h 730"/>
                <a:gd name="T8" fmla="*/ 193 w 955"/>
                <a:gd name="T9" fmla="*/ 659 h 730"/>
                <a:gd name="T10" fmla="*/ 179 w 955"/>
                <a:gd name="T11" fmla="*/ 651 h 730"/>
                <a:gd name="T12" fmla="*/ 176 w 955"/>
                <a:gd name="T13" fmla="*/ 634 h 730"/>
                <a:gd name="T14" fmla="*/ 176 w 955"/>
                <a:gd name="T15" fmla="*/ 615 h 730"/>
                <a:gd name="T16" fmla="*/ 171 w 955"/>
                <a:gd name="T17" fmla="*/ 600 h 730"/>
                <a:gd name="T18" fmla="*/ 171 w 955"/>
                <a:gd name="T19" fmla="*/ 591 h 730"/>
                <a:gd name="T20" fmla="*/ 158 w 955"/>
                <a:gd name="T21" fmla="*/ 586 h 730"/>
                <a:gd name="T22" fmla="*/ 154 w 955"/>
                <a:gd name="T23" fmla="*/ 572 h 730"/>
                <a:gd name="T24" fmla="*/ 137 w 955"/>
                <a:gd name="T25" fmla="*/ 568 h 730"/>
                <a:gd name="T26" fmla="*/ 127 w 955"/>
                <a:gd name="T27" fmla="*/ 558 h 730"/>
                <a:gd name="T28" fmla="*/ 105 w 955"/>
                <a:gd name="T29" fmla="*/ 559 h 730"/>
                <a:gd name="T30" fmla="*/ 94 w 955"/>
                <a:gd name="T31" fmla="*/ 555 h 730"/>
                <a:gd name="T32" fmla="*/ 82 w 955"/>
                <a:gd name="T33" fmla="*/ 550 h 730"/>
                <a:gd name="T34" fmla="*/ 72 w 955"/>
                <a:gd name="T35" fmla="*/ 528 h 730"/>
                <a:gd name="T36" fmla="*/ 69 w 955"/>
                <a:gd name="T37" fmla="*/ 519 h 730"/>
                <a:gd name="T38" fmla="*/ 82 w 955"/>
                <a:gd name="T39" fmla="*/ 499 h 730"/>
                <a:gd name="T40" fmla="*/ 93 w 955"/>
                <a:gd name="T41" fmla="*/ 468 h 730"/>
                <a:gd name="T42" fmla="*/ 102 w 955"/>
                <a:gd name="T43" fmla="*/ 420 h 730"/>
                <a:gd name="T44" fmla="*/ 110 w 955"/>
                <a:gd name="T45" fmla="*/ 392 h 730"/>
                <a:gd name="T46" fmla="*/ 82 w 955"/>
                <a:gd name="T47" fmla="*/ 245 h 730"/>
                <a:gd name="T48" fmla="*/ 70 w 955"/>
                <a:gd name="T49" fmla="*/ 214 h 730"/>
                <a:gd name="T50" fmla="*/ 27 w 955"/>
                <a:gd name="T51" fmla="*/ 83 h 730"/>
                <a:gd name="T52" fmla="*/ 276 w 955"/>
                <a:gd name="T53" fmla="*/ 28 h 730"/>
                <a:gd name="T54" fmla="*/ 658 w 955"/>
                <a:gd name="T55" fmla="*/ 0 h 730"/>
                <a:gd name="T56" fmla="*/ 676 w 955"/>
                <a:gd name="T57" fmla="*/ 169 h 730"/>
                <a:gd name="T58" fmla="*/ 731 w 955"/>
                <a:gd name="T59" fmla="*/ 227 h 730"/>
                <a:gd name="T60" fmla="*/ 748 w 955"/>
                <a:gd name="T61" fmla="*/ 276 h 730"/>
                <a:gd name="T62" fmla="*/ 773 w 955"/>
                <a:gd name="T63" fmla="*/ 297 h 730"/>
                <a:gd name="T64" fmla="*/ 818 w 955"/>
                <a:gd name="T65" fmla="*/ 306 h 730"/>
                <a:gd name="T66" fmla="*/ 843 w 955"/>
                <a:gd name="T67" fmla="*/ 323 h 730"/>
                <a:gd name="T68" fmla="*/ 865 w 955"/>
                <a:gd name="T69" fmla="*/ 350 h 730"/>
                <a:gd name="T70" fmla="*/ 864 w 955"/>
                <a:gd name="T71" fmla="*/ 388 h 730"/>
                <a:gd name="T72" fmla="*/ 860 w 955"/>
                <a:gd name="T73" fmla="*/ 399 h 730"/>
                <a:gd name="T74" fmla="*/ 828 w 955"/>
                <a:gd name="T75" fmla="*/ 434 h 730"/>
                <a:gd name="T76" fmla="*/ 843 w 955"/>
                <a:gd name="T77" fmla="*/ 447 h 730"/>
                <a:gd name="T78" fmla="*/ 868 w 955"/>
                <a:gd name="T79" fmla="*/ 450 h 730"/>
                <a:gd name="T80" fmla="*/ 886 w 955"/>
                <a:gd name="T81" fmla="*/ 451 h 730"/>
                <a:gd name="T82" fmla="*/ 884 w 955"/>
                <a:gd name="T83" fmla="*/ 471 h 730"/>
                <a:gd name="T84" fmla="*/ 876 w 955"/>
                <a:gd name="T85" fmla="*/ 498 h 730"/>
                <a:gd name="T86" fmla="*/ 882 w 955"/>
                <a:gd name="T87" fmla="*/ 510 h 730"/>
                <a:gd name="T88" fmla="*/ 886 w 955"/>
                <a:gd name="T89" fmla="*/ 519 h 730"/>
                <a:gd name="T90" fmla="*/ 902 w 955"/>
                <a:gd name="T91" fmla="*/ 526 h 730"/>
                <a:gd name="T92" fmla="*/ 926 w 955"/>
                <a:gd name="T93" fmla="*/ 534 h 730"/>
                <a:gd name="T94" fmla="*/ 926 w 955"/>
                <a:gd name="T95" fmla="*/ 546 h 730"/>
                <a:gd name="T96" fmla="*/ 943 w 955"/>
                <a:gd name="T97" fmla="*/ 552 h 730"/>
                <a:gd name="T98" fmla="*/ 954 w 955"/>
                <a:gd name="T99" fmla="*/ 552 h 730"/>
                <a:gd name="T100" fmla="*/ 955 w 955"/>
                <a:gd name="T101" fmla="*/ 574 h 730"/>
                <a:gd name="T102" fmla="*/ 805 w 955"/>
                <a:gd name="T103" fmla="*/ 561 h 730"/>
                <a:gd name="T104" fmla="*/ 696 w 955"/>
                <a:gd name="T105" fmla="*/ 536 h 730"/>
                <a:gd name="T106" fmla="*/ 636 w 955"/>
                <a:gd name="T107" fmla="*/ 585 h 730"/>
                <a:gd name="T108" fmla="*/ 648 w 955"/>
                <a:gd name="T109" fmla="*/ 690 h 730"/>
                <a:gd name="T110" fmla="*/ 535 w 955"/>
                <a:gd name="T111" fmla="*/ 656 h 730"/>
                <a:gd name="T112" fmla="*/ 342 w 955"/>
                <a:gd name="T113" fmla="*/ 637 h 730"/>
                <a:gd name="T114" fmla="*/ 284 w 955"/>
                <a:gd name="T115" fmla="*/ 701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55" h="730">
                  <a:moveTo>
                    <a:pt x="275" y="730"/>
                  </a:moveTo>
                  <a:lnTo>
                    <a:pt x="275" y="730"/>
                  </a:lnTo>
                  <a:lnTo>
                    <a:pt x="271" y="729"/>
                  </a:lnTo>
                  <a:lnTo>
                    <a:pt x="268" y="726"/>
                  </a:lnTo>
                  <a:lnTo>
                    <a:pt x="266" y="723"/>
                  </a:lnTo>
                  <a:lnTo>
                    <a:pt x="264" y="720"/>
                  </a:lnTo>
                  <a:lnTo>
                    <a:pt x="263" y="713"/>
                  </a:lnTo>
                  <a:lnTo>
                    <a:pt x="263" y="708"/>
                  </a:lnTo>
                  <a:lnTo>
                    <a:pt x="263" y="708"/>
                  </a:lnTo>
                  <a:lnTo>
                    <a:pt x="262" y="707"/>
                  </a:lnTo>
                  <a:lnTo>
                    <a:pt x="259" y="707"/>
                  </a:lnTo>
                  <a:lnTo>
                    <a:pt x="254" y="707"/>
                  </a:lnTo>
                  <a:lnTo>
                    <a:pt x="246" y="708"/>
                  </a:lnTo>
                  <a:lnTo>
                    <a:pt x="246" y="708"/>
                  </a:lnTo>
                  <a:lnTo>
                    <a:pt x="243" y="701"/>
                  </a:lnTo>
                  <a:lnTo>
                    <a:pt x="241" y="696"/>
                  </a:lnTo>
                  <a:lnTo>
                    <a:pt x="236" y="691"/>
                  </a:lnTo>
                  <a:lnTo>
                    <a:pt x="231" y="686"/>
                  </a:lnTo>
                  <a:lnTo>
                    <a:pt x="221" y="679"/>
                  </a:lnTo>
                  <a:lnTo>
                    <a:pt x="216" y="677"/>
                  </a:lnTo>
                  <a:lnTo>
                    <a:pt x="216" y="677"/>
                  </a:lnTo>
                  <a:lnTo>
                    <a:pt x="216" y="674"/>
                  </a:lnTo>
                  <a:lnTo>
                    <a:pt x="215" y="673"/>
                  </a:lnTo>
                  <a:lnTo>
                    <a:pt x="207" y="670"/>
                  </a:lnTo>
                  <a:lnTo>
                    <a:pt x="207" y="670"/>
                  </a:lnTo>
                  <a:lnTo>
                    <a:pt x="205" y="665"/>
                  </a:lnTo>
                  <a:lnTo>
                    <a:pt x="201" y="663"/>
                  </a:lnTo>
                  <a:lnTo>
                    <a:pt x="197" y="661"/>
                  </a:lnTo>
                  <a:lnTo>
                    <a:pt x="197" y="661"/>
                  </a:lnTo>
                  <a:lnTo>
                    <a:pt x="193" y="659"/>
                  </a:lnTo>
                  <a:lnTo>
                    <a:pt x="189" y="659"/>
                  </a:lnTo>
                  <a:lnTo>
                    <a:pt x="185" y="659"/>
                  </a:lnTo>
                  <a:lnTo>
                    <a:pt x="185" y="659"/>
                  </a:lnTo>
                  <a:lnTo>
                    <a:pt x="177" y="653"/>
                  </a:lnTo>
                  <a:lnTo>
                    <a:pt x="177" y="653"/>
                  </a:lnTo>
                  <a:lnTo>
                    <a:pt x="179" y="651"/>
                  </a:lnTo>
                  <a:lnTo>
                    <a:pt x="181" y="647"/>
                  </a:lnTo>
                  <a:lnTo>
                    <a:pt x="181" y="647"/>
                  </a:lnTo>
                  <a:lnTo>
                    <a:pt x="181" y="644"/>
                  </a:lnTo>
                  <a:lnTo>
                    <a:pt x="180" y="643"/>
                  </a:lnTo>
                  <a:lnTo>
                    <a:pt x="177" y="639"/>
                  </a:lnTo>
                  <a:lnTo>
                    <a:pt x="176" y="634"/>
                  </a:lnTo>
                  <a:lnTo>
                    <a:pt x="177" y="631"/>
                  </a:lnTo>
                  <a:lnTo>
                    <a:pt x="179" y="629"/>
                  </a:lnTo>
                  <a:lnTo>
                    <a:pt x="179" y="629"/>
                  </a:lnTo>
                  <a:lnTo>
                    <a:pt x="179" y="618"/>
                  </a:lnTo>
                  <a:lnTo>
                    <a:pt x="177" y="616"/>
                  </a:lnTo>
                  <a:lnTo>
                    <a:pt x="176" y="615"/>
                  </a:lnTo>
                  <a:lnTo>
                    <a:pt x="176" y="615"/>
                  </a:lnTo>
                  <a:lnTo>
                    <a:pt x="174" y="612"/>
                  </a:lnTo>
                  <a:lnTo>
                    <a:pt x="174" y="608"/>
                  </a:lnTo>
                  <a:lnTo>
                    <a:pt x="174" y="604"/>
                  </a:lnTo>
                  <a:lnTo>
                    <a:pt x="171" y="600"/>
                  </a:lnTo>
                  <a:lnTo>
                    <a:pt x="171" y="600"/>
                  </a:lnTo>
                  <a:lnTo>
                    <a:pt x="168" y="600"/>
                  </a:lnTo>
                  <a:lnTo>
                    <a:pt x="167" y="599"/>
                  </a:lnTo>
                  <a:lnTo>
                    <a:pt x="168" y="598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1"/>
                  </a:lnTo>
                  <a:lnTo>
                    <a:pt x="168" y="589"/>
                  </a:lnTo>
                  <a:lnTo>
                    <a:pt x="166" y="589"/>
                  </a:lnTo>
                  <a:lnTo>
                    <a:pt x="163" y="590"/>
                  </a:lnTo>
                  <a:lnTo>
                    <a:pt x="163" y="590"/>
                  </a:lnTo>
                  <a:lnTo>
                    <a:pt x="161" y="589"/>
                  </a:lnTo>
                  <a:lnTo>
                    <a:pt x="158" y="586"/>
                  </a:lnTo>
                  <a:lnTo>
                    <a:pt x="155" y="583"/>
                  </a:lnTo>
                  <a:lnTo>
                    <a:pt x="155" y="580"/>
                  </a:lnTo>
                  <a:lnTo>
                    <a:pt x="155" y="580"/>
                  </a:lnTo>
                  <a:lnTo>
                    <a:pt x="155" y="576"/>
                  </a:lnTo>
                  <a:lnTo>
                    <a:pt x="155" y="573"/>
                  </a:lnTo>
                  <a:lnTo>
                    <a:pt x="154" y="572"/>
                  </a:lnTo>
                  <a:lnTo>
                    <a:pt x="151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71"/>
                  </a:lnTo>
                  <a:lnTo>
                    <a:pt x="141" y="568"/>
                  </a:lnTo>
                  <a:lnTo>
                    <a:pt x="137" y="568"/>
                  </a:lnTo>
                  <a:lnTo>
                    <a:pt x="135" y="568"/>
                  </a:lnTo>
                  <a:lnTo>
                    <a:pt x="132" y="567"/>
                  </a:lnTo>
                  <a:lnTo>
                    <a:pt x="132" y="567"/>
                  </a:lnTo>
                  <a:lnTo>
                    <a:pt x="131" y="560"/>
                  </a:lnTo>
                  <a:lnTo>
                    <a:pt x="128" y="559"/>
                  </a:lnTo>
                  <a:lnTo>
                    <a:pt x="127" y="558"/>
                  </a:lnTo>
                  <a:lnTo>
                    <a:pt x="123" y="559"/>
                  </a:lnTo>
                  <a:lnTo>
                    <a:pt x="119" y="561"/>
                  </a:lnTo>
                  <a:lnTo>
                    <a:pt x="119" y="561"/>
                  </a:lnTo>
                  <a:lnTo>
                    <a:pt x="111" y="563"/>
                  </a:lnTo>
                  <a:lnTo>
                    <a:pt x="109" y="561"/>
                  </a:lnTo>
                  <a:lnTo>
                    <a:pt x="105" y="559"/>
                  </a:lnTo>
                  <a:lnTo>
                    <a:pt x="105" y="559"/>
                  </a:lnTo>
                  <a:lnTo>
                    <a:pt x="102" y="559"/>
                  </a:lnTo>
                  <a:lnTo>
                    <a:pt x="100" y="559"/>
                  </a:lnTo>
                  <a:lnTo>
                    <a:pt x="98" y="559"/>
                  </a:lnTo>
                  <a:lnTo>
                    <a:pt x="96" y="558"/>
                  </a:lnTo>
                  <a:lnTo>
                    <a:pt x="94" y="555"/>
                  </a:lnTo>
                  <a:lnTo>
                    <a:pt x="94" y="551"/>
                  </a:lnTo>
                  <a:lnTo>
                    <a:pt x="94" y="551"/>
                  </a:lnTo>
                  <a:lnTo>
                    <a:pt x="87" y="551"/>
                  </a:lnTo>
                  <a:lnTo>
                    <a:pt x="84" y="551"/>
                  </a:lnTo>
                  <a:lnTo>
                    <a:pt x="82" y="550"/>
                  </a:lnTo>
                  <a:lnTo>
                    <a:pt x="82" y="550"/>
                  </a:lnTo>
                  <a:lnTo>
                    <a:pt x="79" y="543"/>
                  </a:lnTo>
                  <a:lnTo>
                    <a:pt x="79" y="537"/>
                  </a:lnTo>
                  <a:lnTo>
                    <a:pt x="80" y="533"/>
                  </a:lnTo>
                  <a:lnTo>
                    <a:pt x="80" y="530"/>
                  </a:lnTo>
                  <a:lnTo>
                    <a:pt x="80" y="530"/>
                  </a:lnTo>
                  <a:lnTo>
                    <a:pt x="72" y="528"/>
                  </a:lnTo>
                  <a:lnTo>
                    <a:pt x="69" y="526"/>
                  </a:lnTo>
                  <a:lnTo>
                    <a:pt x="66" y="525"/>
                  </a:lnTo>
                  <a:lnTo>
                    <a:pt x="66" y="525"/>
                  </a:lnTo>
                  <a:lnTo>
                    <a:pt x="66" y="524"/>
                  </a:lnTo>
                  <a:lnTo>
                    <a:pt x="66" y="521"/>
                  </a:lnTo>
                  <a:lnTo>
                    <a:pt x="69" y="519"/>
                  </a:lnTo>
                  <a:lnTo>
                    <a:pt x="72" y="515"/>
                  </a:lnTo>
                  <a:lnTo>
                    <a:pt x="75" y="512"/>
                  </a:lnTo>
                  <a:lnTo>
                    <a:pt x="75" y="512"/>
                  </a:lnTo>
                  <a:lnTo>
                    <a:pt x="78" y="510"/>
                  </a:lnTo>
                  <a:lnTo>
                    <a:pt x="79" y="506"/>
                  </a:lnTo>
                  <a:lnTo>
                    <a:pt x="82" y="499"/>
                  </a:lnTo>
                  <a:lnTo>
                    <a:pt x="83" y="491"/>
                  </a:lnTo>
                  <a:lnTo>
                    <a:pt x="83" y="491"/>
                  </a:lnTo>
                  <a:lnTo>
                    <a:pt x="85" y="482"/>
                  </a:lnTo>
                  <a:lnTo>
                    <a:pt x="88" y="475"/>
                  </a:lnTo>
                  <a:lnTo>
                    <a:pt x="93" y="468"/>
                  </a:lnTo>
                  <a:lnTo>
                    <a:pt x="93" y="468"/>
                  </a:lnTo>
                  <a:lnTo>
                    <a:pt x="94" y="466"/>
                  </a:lnTo>
                  <a:lnTo>
                    <a:pt x="96" y="463"/>
                  </a:lnTo>
                  <a:lnTo>
                    <a:pt x="96" y="458"/>
                  </a:lnTo>
                  <a:lnTo>
                    <a:pt x="96" y="451"/>
                  </a:lnTo>
                  <a:lnTo>
                    <a:pt x="97" y="432"/>
                  </a:lnTo>
                  <a:lnTo>
                    <a:pt x="102" y="420"/>
                  </a:lnTo>
                  <a:lnTo>
                    <a:pt x="102" y="420"/>
                  </a:lnTo>
                  <a:lnTo>
                    <a:pt x="98" y="412"/>
                  </a:lnTo>
                  <a:lnTo>
                    <a:pt x="98" y="412"/>
                  </a:lnTo>
                  <a:lnTo>
                    <a:pt x="104" y="406"/>
                  </a:lnTo>
                  <a:lnTo>
                    <a:pt x="107" y="398"/>
                  </a:lnTo>
                  <a:lnTo>
                    <a:pt x="110" y="392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88" y="263"/>
                  </a:lnTo>
                  <a:lnTo>
                    <a:pt x="88" y="263"/>
                  </a:lnTo>
                  <a:lnTo>
                    <a:pt x="85" y="252"/>
                  </a:lnTo>
                  <a:lnTo>
                    <a:pt x="82" y="245"/>
                  </a:lnTo>
                  <a:lnTo>
                    <a:pt x="79" y="241"/>
                  </a:lnTo>
                  <a:lnTo>
                    <a:pt x="76" y="236"/>
                  </a:lnTo>
                  <a:lnTo>
                    <a:pt x="76" y="236"/>
                  </a:lnTo>
                  <a:lnTo>
                    <a:pt x="72" y="225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69" y="201"/>
                  </a:lnTo>
                  <a:lnTo>
                    <a:pt x="63" y="187"/>
                  </a:lnTo>
                  <a:lnTo>
                    <a:pt x="54" y="161"/>
                  </a:lnTo>
                  <a:lnTo>
                    <a:pt x="45" y="142"/>
                  </a:lnTo>
                  <a:lnTo>
                    <a:pt x="41" y="134"/>
                  </a:lnTo>
                  <a:lnTo>
                    <a:pt x="27" y="83"/>
                  </a:lnTo>
                  <a:lnTo>
                    <a:pt x="5" y="50"/>
                  </a:lnTo>
                  <a:lnTo>
                    <a:pt x="0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131" y="34"/>
                  </a:lnTo>
                  <a:lnTo>
                    <a:pt x="276" y="28"/>
                  </a:lnTo>
                  <a:lnTo>
                    <a:pt x="434" y="18"/>
                  </a:lnTo>
                  <a:lnTo>
                    <a:pt x="517" y="12"/>
                  </a:lnTo>
                  <a:lnTo>
                    <a:pt x="601" y="6"/>
                  </a:lnTo>
                  <a:lnTo>
                    <a:pt x="601" y="6"/>
                  </a:lnTo>
                  <a:lnTo>
                    <a:pt x="632" y="3"/>
                  </a:lnTo>
                  <a:lnTo>
                    <a:pt x="658" y="0"/>
                  </a:lnTo>
                  <a:lnTo>
                    <a:pt x="654" y="25"/>
                  </a:lnTo>
                  <a:lnTo>
                    <a:pt x="641" y="48"/>
                  </a:lnTo>
                  <a:lnTo>
                    <a:pt x="665" y="139"/>
                  </a:lnTo>
                  <a:lnTo>
                    <a:pt x="630" y="139"/>
                  </a:lnTo>
                  <a:lnTo>
                    <a:pt x="635" y="167"/>
                  </a:lnTo>
                  <a:lnTo>
                    <a:pt x="676" y="169"/>
                  </a:lnTo>
                  <a:lnTo>
                    <a:pt x="681" y="193"/>
                  </a:lnTo>
                  <a:lnTo>
                    <a:pt x="689" y="208"/>
                  </a:lnTo>
                  <a:lnTo>
                    <a:pt x="689" y="208"/>
                  </a:lnTo>
                  <a:lnTo>
                    <a:pt x="700" y="213"/>
                  </a:lnTo>
                  <a:lnTo>
                    <a:pt x="709" y="217"/>
                  </a:lnTo>
                  <a:lnTo>
                    <a:pt x="731" y="227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58"/>
                  </a:lnTo>
                  <a:lnTo>
                    <a:pt x="746" y="269"/>
                  </a:lnTo>
                  <a:lnTo>
                    <a:pt x="748" y="276"/>
                  </a:lnTo>
                  <a:lnTo>
                    <a:pt x="748" y="276"/>
                  </a:lnTo>
                  <a:lnTo>
                    <a:pt x="749" y="279"/>
                  </a:lnTo>
                  <a:lnTo>
                    <a:pt x="751" y="282"/>
                  </a:lnTo>
                  <a:lnTo>
                    <a:pt x="757" y="285"/>
                  </a:lnTo>
                  <a:lnTo>
                    <a:pt x="764" y="291"/>
                  </a:lnTo>
                  <a:lnTo>
                    <a:pt x="764" y="291"/>
                  </a:lnTo>
                  <a:lnTo>
                    <a:pt x="773" y="297"/>
                  </a:lnTo>
                  <a:lnTo>
                    <a:pt x="784" y="301"/>
                  </a:lnTo>
                  <a:lnTo>
                    <a:pt x="784" y="301"/>
                  </a:lnTo>
                  <a:lnTo>
                    <a:pt x="790" y="302"/>
                  </a:lnTo>
                  <a:lnTo>
                    <a:pt x="799" y="302"/>
                  </a:lnTo>
                  <a:lnTo>
                    <a:pt x="814" y="302"/>
                  </a:lnTo>
                  <a:lnTo>
                    <a:pt x="818" y="306"/>
                  </a:lnTo>
                  <a:lnTo>
                    <a:pt x="824" y="307"/>
                  </a:lnTo>
                  <a:lnTo>
                    <a:pt x="834" y="317"/>
                  </a:lnTo>
                  <a:lnTo>
                    <a:pt x="838" y="315"/>
                  </a:lnTo>
                  <a:lnTo>
                    <a:pt x="838" y="315"/>
                  </a:lnTo>
                  <a:lnTo>
                    <a:pt x="841" y="319"/>
                  </a:lnTo>
                  <a:lnTo>
                    <a:pt x="843" y="323"/>
                  </a:lnTo>
                  <a:lnTo>
                    <a:pt x="851" y="328"/>
                  </a:lnTo>
                  <a:lnTo>
                    <a:pt x="859" y="333"/>
                  </a:lnTo>
                  <a:lnTo>
                    <a:pt x="863" y="336"/>
                  </a:lnTo>
                  <a:lnTo>
                    <a:pt x="863" y="336"/>
                  </a:lnTo>
                  <a:lnTo>
                    <a:pt x="864" y="342"/>
                  </a:lnTo>
                  <a:lnTo>
                    <a:pt x="865" y="350"/>
                  </a:lnTo>
                  <a:lnTo>
                    <a:pt x="865" y="361"/>
                  </a:lnTo>
                  <a:lnTo>
                    <a:pt x="863" y="370"/>
                  </a:lnTo>
                  <a:lnTo>
                    <a:pt x="863" y="370"/>
                  </a:lnTo>
                  <a:lnTo>
                    <a:pt x="862" y="376"/>
                  </a:lnTo>
                  <a:lnTo>
                    <a:pt x="863" y="383"/>
                  </a:lnTo>
                  <a:lnTo>
                    <a:pt x="864" y="388"/>
                  </a:lnTo>
                  <a:lnTo>
                    <a:pt x="864" y="392"/>
                  </a:lnTo>
                  <a:lnTo>
                    <a:pt x="864" y="392"/>
                  </a:lnTo>
                  <a:lnTo>
                    <a:pt x="864" y="396"/>
                  </a:lnTo>
                  <a:lnTo>
                    <a:pt x="863" y="398"/>
                  </a:lnTo>
                  <a:lnTo>
                    <a:pt x="860" y="399"/>
                  </a:lnTo>
                  <a:lnTo>
                    <a:pt x="860" y="399"/>
                  </a:lnTo>
                  <a:lnTo>
                    <a:pt x="859" y="401"/>
                  </a:lnTo>
                  <a:lnTo>
                    <a:pt x="856" y="403"/>
                  </a:lnTo>
                  <a:lnTo>
                    <a:pt x="854" y="409"/>
                  </a:lnTo>
                  <a:lnTo>
                    <a:pt x="854" y="409"/>
                  </a:lnTo>
                  <a:lnTo>
                    <a:pt x="842" y="419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8" y="434"/>
                  </a:lnTo>
                  <a:lnTo>
                    <a:pt x="829" y="437"/>
                  </a:lnTo>
                  <a:lnTo>
                    <a:pt x="833" y="441"/>
                  </a:lnTo>
                  <a:lnTo>
                    <a:pt x="843" y="447"/>
                  </a:lnTo>
                  <a:lnTo>
                    <a:pt x="843" y="447"/>
                  </a:lnTo>
                  <a:lnTo>
                    <a:pt x="849" y="449"/>
                  </a:lnTo>
                  <a:lnTo>
                    <a:pt x="856" y="449"/>
                  </a:lnTo>
                  <a:lnTo>
                    <a:pt x="864" y="449"/>
                  </a:lnTo>
                  <a:lnTo>
                    <a:pt x="867" y="449"/>
                  </a:lnTo>
                  <a:lnTo>
                    <a:pt x="868" y="450"/>
                  </a:lnTo>
                  <a:lnTo>
                    <a:pt x="868" y="450"/>
                  </a:lnTo>
                  <a:lnTo>
                    <a:pt x="869" y="453"/>
                  </a:lnTo>
                  <a:lnTo>
                    <a:pt x="872" y="453"/>
                  </a:lnTo>
                  <a:lnTo>
                    <a:pt x="877" y="453"/>
                  </a:lnTo>
                  <a:lnTo>
                    <a:pt x="885" y="449"/>
                  </a:lnTo>
                  <a:lnTo>
                    <a:pt x="885" y="449"/>
                  </a:lnTo>
                  <a:lnTo>
                    <a:pt x="886" y="451"/>
                  </a:lnTo>
                  <a:lnTo>
                    <a:pt x="889" y="454"/>
                  </a:lnTo>
                  <a:lnTo>
                    <a:pt x="890" y="459"/>
                  </a:lnTo>
                  <a:lnTo>
                    <a:pt x="891" y="462"/>
                  </a:lnTo>
                  <a:lnTo>
                    <a:pt x="891" y="462"/>
                  </a:lnTo>
                  <a:lnTo>
                    <a:pt x="889" y="466"/>
                  </a:lnTo>
                  <a:lnTo>
                    <a:pt x="884" y="471"/>
                  </a:lnTo>
                  <a:lnTo>
                    <a:pt x="877" y="477"/>
                  </a:lnTo>
                  <a:lnTo>
                    <a:pt x="877" y="477"/>
                  </a:lnTo>
                  <a:lnTo>
                    <a:pt x="876" y="481"/>
                  </a:lnTo>
                  <a:lnTo>
                    <a:pt x="876" y="488"/>
                  </a:lnTo>
                  <a:lnTo>
                    <a:pt x="876" y="498"/>
                  </a:lnTo>
                  <a:lnTo>
                    <a:pt x="876" y="498"/>
                  </a:lnTo>
                  <a:lnTo>
                    <a:pt x="878" y="501"/>
                  </a:lnTo>
                  <a:lnTo>
                    <a:pt x="882" y="503"/>
                  </a:lnTo>
                  <a:lnTo>
                    <a:pt x="882" y="503"/>
                  </a:lnTo>
                  <a:lnTo>
                    <a:pt x="882" y="504"/>
                  </a:lnTo>
                  <a:lnTo>
                    <a:pt x="882" y="506"/>
                  </a:lnTo>
                  <a:lnTo>
                    <a:pt x="882" y="510"/>
                  </a:lnTo>
                  <a:lnTo>
                    <a:pt x="882" y="510"/>
                  </a:lnTo>
                  <a:lnTo>
                    <a:pt x="884" y="511"/>
                  </a:lnTo>
                  <a:lnTo>
                    <a:pt x="885" y="512"/>
                  </a:lnTo>
                  <a:lnTo>
                    <a:pt x="886" y="515"/>
                  </a:lnTo>
                  <a:lnTo>
                    <a:pt x="886" y="519"/>
                  </a:lnTo>
                  <a:lnTo>
                    <a:pt x="886" y="519"/>
                  </a:lnTo>
                  <a:lnTo>
                    <a:pt x="886" y="521"/>
                  </a:lnTo>
                  <a:lnTo>
                    <a:pt x="888" y="524"/>
                  </a:lnTo>
                  <a:lnTo>
                    <a:pt x="891" y="526"/>
                  </a:lnTo>
                  <a:lnTo>
                    <a:pt x="897" y="526"/>
                  </a:lnTo>
                  <a:lnTo>
                    <a:pt x="902" y="526"/>
                  </a:lnTo>
                  <a:lnTo>
                    <a:pt x="902" y="526"/>
                  </a:lnTo>
                  <a:lnTo>
                    <a:pt x="906" y="528"/>
                  </a:lnTo>
                  <a:lnTo>
                    <a:pt x="910" y="530"/>
                  </a:lnTo>
                  <a:lnTo>
                    <a:pt x="913" y="532"/>
                  </a:lnTo>
                  <a:lnTo>
                    <a:pt x="917" y="533"/>
                  </a:lnTo>
                  <a:lnTo>
                    <a:pt x="917" y="533"/>
                  </a:lnTo>
                  <a:lnTo>
                    <a:pt x="926" y="534"/>
                  </a:lnTo>
                  <a:lnTo>
                    <a:pt x="930" y="536"/>
                  </a:lnTo>
                  <a:lnTo>
                    <a:pt x="930" y="537"/>
                  </a:lnTo>
                  <a:lnTo>
                    <a:pt x="932" y="539"/>
                  </a:lnTo>
                  <a:lnTo>
                    <a:pt x="932" y="539"/>
                  </a:lnTo>
                  <a:lnTo>
                    <a:pt x="930" y="542"/>
                  </a:lnTo>
                  <a:lnTo>
                    <a:pt x="926" y="546"/>
                  </a:lnTo>
                  <a:lnTo>
                    <a:pt x="923" y="548"/>
                  </a:lnTo>
                  <a:lnTo>
                    <a:pt x="921" y="551"/>
                  </a:lnTo>
                  <a:lnTo>
                    <a:pt x="921" y="551"/>
                  </a:lnTo>
                  <a:lnTo>
                    <a:pt x="925" y="552"/>
                  </a:lnTo>
                  <a:lnTo>
                    <a:pt x="934" y="552"/>
                  </a:lnTo>
                  <a:lnTo>
                    <a:pt x="943" y="552"/>
                  </a:lnTo>
                  <a:lnTo>
                    <a:pt x="947" y="552"/>
                  </a:lnTo>
                  <a:lnTo>
                    <a:pt x="950" y="551"/>
                  </a:lnTo>
                  <a:lnTo>
                    <a:pt x="950" y="551"/>
                  </a:lnTo>
                  <a:lnTo>
                    <a:pt x="951" y="550"/>
                  </a:lnTo>
                  <a:lnTo>
                    <a:pt x="952" y="551"/>
                  </a:lnTo>
                  <a:lnTo>
                    <a:pt x="954" y="552"/>
                  </a:lnTo>
                  <a:lnTo>
                    <a:pt x="955" y="555"/>
                  </a:lnTo>
                  <a:lnTo>
                    <a:pt x="955" y="555"/>
                  </a:lnTo>
                  <a:lnTo>
                    <a:pt x="955" y="558"/>
                  </a:lnTo>
                  <a:lnTo>
                    <a:pt x="955" y="564"/>
                  </a:lnTo>
                  <a:lnTo>
                    <a:pt x="954" y="571"/>
                  </a:lnTo>
                  <a:lnTo>
                    <a:pt x="955" y="574"/>
                  </a:lnTo>
                  <a:lnTo>
                    <a:pt x="943" y="587"/>
                  </a:lnTo>
                  <a:lnTo>
                    <a:pt x="889" y="580"/>
                  </a:lnTo>
                  <a:lnTo>
                    <a:pt x="880" y="582"/>
                  </a:lnTo>
                  <a:lnTo>
                    <a:pt x="853" y="569"/>
                  </a:lnTo>
                  <a:lnTo>
                    <a:pt x="820" y="558"/>
                  </a:lnTo>
                  <a:lnTo>
                    <a:pt x="805" y="561"/>
                  </a:lnTo>
                  <a:lnTo>
                    <a:pt x="780" y="539"/>
                  </a:lnTo>
                  <a:lnTo>
                    <a:pt x="737" y="524"/>
                  </a:lnTo>
                  <a:lnTo>
                    <a:pt x="728" y="532"/>
                  </a:lnTo>
                  <a:lnTo>
                    <a:pt x="716" y="529"/>
                  </a:lnTo>
                  <a:lnTo>
                    <a:pt x="709" y="536"/>
                  </a:lnTo>
                  <a:lnTo>
                    <a:pt x="696" y="536"/>
                  </a:lnTo>
                  <a:lnTo>
                    <a:pt x="691" y="550"/>
                  </a:lnTo>
                  <a:lnTo>
                    <a:pt x="675" y="554"/>
                  </a:lnTo>
                  <a:lnTo>
                    <a:pt x="657" y="561"/>
                  </a:lnTo>
                  <a:lnTo>
                    <a:pt x="650" y="564"/>
                  </a:lnTo>
                  <a:lnTo>
                    <a:pt x="641" y="572"/>
                  </a:lnTo>
                  <a:lnTo>
                    <a:pt x="636" y="585"/>
                  </a:lnTo>
                  <a:lnTo>
                    <a:pt x="635" y="603"/>
                  </a:lnTo>
                  <a:lnTo>
                    <a:pt x="640" y="616"/>
                  </a:lnTo>
                  <a:lnTo>
                    <a:pt x="632" y="631"/>
                  </a:lnTo>
                  <a:lnTo>
                    <a:pt x="630" y="653"/>
                  </a:lnTo>
                  <a:lnTo>
                    <a:pt x="641" y="678"/>
                  </a:lnTo>
                  <a:lnTo>
                    <a:pt x="648" y="690"/>
                  </a:lnTo>
                  <a:lnTo>
                    <a:pt x="630" y="691"/>
                  </a:lnTo>
                  <a:lnTo>
                    <a:pt x="619" y="688"/>
                  </a:lnTo>
                  <a:lnTo>
                    <a:pt x="610" y="669"/>
                  </a:lnTo>
                  <a:lnTo>
                    <a:pt x="573" y="669"/>
                  </a:lnTo>
                  <a:lnTo>
                    <a:pt x="553" y="670"/>
                  </a:lnTo>
                  <a:lnTo>
                    <a:pt x="535" y="656"/>
                  </a:lnTo>
                  <a:lnTo>
                    <a:pt x="499" y="647"/>
                  </a:lnTo>
                  <a:lnTo>
                    <a:pt x="473" y="634"/>
                  </a:lnTo>
                  <a:lnTo>
                    <a:pt x="444" y="641"/>
                  </a:lnTo>
                  <a:lnTo>
                    <a:pt x="417" y="630"/>
                  </a:lnTo>
                  <a:lnTo>
                    <a:pt x="376" y="635"/>
                  </a:lnTo>
                  <a:lnTo>
                    <a:pt x="342" y="637"/>
                  </a:lnTo>
                  <a:lnTo>
                    <a:pt x="317" y="657"/>
                  </a:lnTo>
                  <a:lnTo>
                    <a:pt x="316" y="672"/>
                  </a:lnTo>
                  <a:lnTo>
                    <a:pt x="293" y="678"/>
                  </a:lnTo>
                  <a:lnTo>
                    <a:pt x="301" y="695"/>
                  </a:lnTo>
                  <a:lnTo>
                    <a:pt x="295" y="699"/>
                  </a:lnTo>
                  <a:lnTo>
                    <a:pt x="284" y="701"/>
                  </a:lnTo>
                  <a:lnTo>
                    <a:pt x="280" y="714"/>
                  </a:lnTo>
                  <a:lnTo>
                    <a:pt x="275" y="730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79" name="Freeform 197"/>
            <p:cNvSpPr>
              <a:spLocks/>
            </p:cNvSpPr>
            <p:nvPr/>
          </p:nvSpPr>
          <p:spPr bwMode="auto">
            <a:xfrm>
              <a:off x="6054725" y="3914775"/>
              <a:ext cx="1860550" cy="1446213"/>
            </a:xfrm>
            <a:custGeom>
              <a:avLst/>
              <a:gdLst>
                <a:gd name="T0" fmla="*/ 460 w 1172"/>
                <a:gd name="T1" fmla="*/ 26 h 911"/>
                <a:gd name="T2" fmla="*/ 495 w 1172"/>
                <a:gd name="T3" fmla="*/ 22 h 911"/>
                <a:gd name="T4" fmla="*/ 508 w 1172"/>
                <a:gd name="T5" fmla="*/ 10 h 911"/>
                <a:gd name="T6" fmla="*/ 524 w 1172"/>
                <a:gd name="T7" fmla="*/ 23 h 911"/>
                <a:gd name="T8" fmla="*/ 541 w 1172"/>
                <a:gd name="T9" fmla="*/ 0 h 911"/>
                <a:gd name="T10" fmla="*/ 566 w 1172"/>
                <a:gd name="T11" fmla="*/ 13 h 911"/>
                <a:gd name="T12" fmla="*/ 600 w 1172"/>
                <a:gd name="T13" fmla="*/ 22 h 911"/>
                <a:gd name="T14" fmla="*/ 615 w 1172"/>
                <a:gd name="T15" fmla="*/ 32 h 911"/>
                <a:gd name="T16" fmla="*/ 664 w 1172"/>
                <a:gd name="T17" fmla="*/ 21 h 911"/>
                <a:gd name="T18" fmla="*/ 714 w 1172"/>
                <a:gd name="T19" fmla="*/ 65 h 911"/>
                <a:gd name="T20" fmla="*/ 767 w 1172"/>
                <a:gd name="T21" fmla="*/ 44 h 911"/>
                <a:gd name="T22" fmla="*/ 807 w 1172"/>
                <a:gd name="T23" fmla="*/ 41 h 911"/>
                <a:gd name="T24" fmla="*/ 820 w 1172"/>
                <a:gd name="T25" fmla="*/ 54 h 911"/>
                <a:gd name="T26" fmla="*/ 946 w 1172"/>
                <a:gd name="T27" fmla="*/ 80 h 911"/>
                <a:gd name="T28" fmla="*/ 960 w 1172"/>
                <a:gd name="T29" fmla="*/ 80 h 911"/>
                <a:gd name="T30" fmla="*/ 969 w 1172"/>
                <a:gd name="T31" fmla="*/ 88 h 911"/>
                <a:gd name="T32" fmla="*/ 973 w 1172"/>
                <a:gd name="T33" fmla="*/ 80 h 911"/>
                <a:gd name="T34" fmla="*/ 999 w 1172"/>
                <a:gd name="T35" fmla="*/ 72 h 911"/>
                <a:gd name="T36" fmla="*/ 997 w 1172"/>
                <a:gd name="T37" fmla="*/ 97 h 911"/>
                <a:gd name="T38" fmla="*/ 1051 w 1172"/>
                <a:gd name="T39" fmla="*/ 140 h 911"/>
                <a:gd name="T40" fmla="*/ 1097 w 1172"/>
                <a:gd name="T41" fmla="*/ 203 h 911"/>
                <a:gd name="T42" fmla="*/ 1109 w 1172"/>
                <a:gd name="T43" fmla="*/ 234 h 911"/>
                <a:gd name="T44" fmla="*/ 1131 w 1172"/>
                <a:gd name="T45" fmla="*/ 234 h 911"/>
                <a:gd name="T46" fmla="*/ 1130 w 1172"/>
                <a:gd name="T47" fmla="*/ 291 h 911"/>
                <a:gd name="T48" fmla="*/ 953 w 1172"/>
                <a:gd name="T49" fmla="*/ 346 h 911"/>
                <a:gd name="T50" fmla="*/ 832 w 1172"/>
                <a:gd name="T51" fmla="*/ 413 h 911"/>
                <a:gd name="T52" fmla="*/ 905 w 1172"/>
                <a:gd name="T53" fmla="*/ 485 h 911"/>
                <a:gd name="T54" fmla="*/ 952 w 1172"/>
                <a:gd name="T55" fmla="*/ 609 h 911"/>
                <a:gd name="T56" fmla="*/ 992 w 1172"/>
                <a:gd name="T57" fmla="*/ 676 h 911"/>
                <a:gd name="T58" fmla="*/ 962 w 1172"/>
                <a:gd name="T59" fmla="*/ 758 h 911"/>
                <a:gd name="T60" fmla="*/ 948 w 1172"/>
                <a:gd name="T61" fmla="*/ 864 h 911"/>
                <a:gd name="T62" fmla="*/ 878 w 1172"/>
                <a:gd name="T63" fmla="*/ 875 h 911"/>
                <a:gd name="T64" fmla="*/ 629 w 1172"/>
                <a:gd name="T65" fmla="*/ 842 h 911"/>
                <a:gd name="T66" fmla="*/ 487 w 1172"/>
                <a:gd name="T67" fmla="*/ 834 h 911"/>
                <a:gd name="T68" fmla="*/ 439 w 1172"/>
                <a:gd name="T69" fmla="*/ 854 h 911"/>
                <a:gd name="T70" fmla="*/ 405 w 1172"/>
                <a:gd name="T71" fmla="*/ 867 h 911"/>
                <a:gd name="T72" fmla="*/ 388 w 1172"/>
                <a:gd name="T73" fmla="*/ 858 h 911"/>
                <a:gd name="T74" fmla="*/ 346 w 1172"/>
                <a:gd name="T75" fmla="*/ 859 h 911"/>
                <a:gd name="T76" fmla="*/ 325 w 1172"/>
                <a:gd name="T77" fmla="*/ 863 h 911"/>
                <a:gd name="T78" fmla="*/ 320 w 1172"/>
                <a:gd name="T79" fmla="*/ 859 h 911"/>
                <a:gd name="T80" fmla="*/ 291 w 1172"/>
                <a:gd name="T81" fmla="*/ 859 h 911"/>
                <a:gd name="T82" fmla="*/ 300 w 1172"/>
                <a:gd name="T83" fmla="*/ 845 h 911"/>
                <a:gd name="T84" fmla="*/ 280 w 1172"/>
                <a:gd name="T85" fmla="*/ 838 h 911"/>
                <a:gd name="T86" fmla="*/ 258 w 1172"/>
                <a:gd name="T87" fmla="*/ 832 h 911"/>
                <a:gd name="T88" fmla="*/ 252 w 1172"/>
                <a:gd name="T89" fmla="*/ 819 h 911"/>
                <a:gd name="T90" fmla="*/ 252 w 1172"/>
                <a:gd name="T91" fmla="*/ 811 h 911"/>
                <a:gd name="T92" fmla="*/ 247 w 1172"/>
                <a:gd name="T93" fmla="*/ 787 h 911"/>
                <a:gd name="T94" fmla="*/ 260 w 1172"/>
                <a:gd name="T95" fmla="*/ 767 h 911"/>
                <a:gd name="T96" fmla="*/ 242 w 1172"/>
                <a:gd name="T97" fmla="*/ 761 h 911"/>
                <a:gd name="T98" fmla="*/ 226 w 1172"/>
                <a:gd name="T99" fmla="*/ 757 h 911"/>
                <a:gd name="T100" fmla="*/ 198 w 1172"/>
                <a:gd name="T101" fmla="*/ 742 h 911"/>
                <a:gd name="T102" fmla="*/ 226 w 1172"/>
                <a:gd name="T103" fmla="*/ 711 h 911"/>
                <a:gd name="T104" fmla="*/ 234 w 1172"/>
                <a:gd name="T105" fmla="*/ 700 h 911"/>
                <a:gd name="T106" fmla="*/ 233 w 1172"/>
                <a:gd name="T107" fmla="*/ 678 h 911"/>
                <a:gd name="T108" fmla="*/ 229 w 1172"/>
                <a:gd name="T109" fmla="*/ 641 h 911"/>
                <a:gd name="T110" fmla="*/ 194 w 1172"/>
                <a:gd name="T111" fmla="*/ 615 h 911"/>
                <a:gd name="T112" fmla="*/ 154 w 1172"/>
                <a:gd name="T113" fmla="*/ 609 h 911"/>
                <a:gd name="T114" fmla="*/ 121 w 1172"/>
                <a:gd name="T115" fmla="*/ 590 h 911"/>
                <a:gd name="T116" fmla="*/ 116 w 1172"/>
                <a:gd name="T117" fmla="*/ 551 h 911"/>
                <a:gd name="T118" fmla="*/ 51 w 1172"/>
                <a:gd name="T119" fmla="*/ 501 h 911"/>
                <a:gd name="T120" fmla="*/ 24 w 1172"/>
                <a:gd name="T121" fmla="*/ 333 h 911"/>
                <a:gd name="T122" fmla="*/ 181 w 1172"/>
                <a:gd name="T123" fmla="*/ 163 h 911"/>
                <a:gd name="T124" fmla="*/ 396 w 1172"/>
                <a:gd name="T125" fmla="*/ 168 h 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72" h="911">
                  <a:moveTo>
                    <a:pt x="448" y="36"/>
                  </a:moveTo>
                  <a:lnTo>
                    <a:pt x="448" y="36"/>
                  </a:lnTo>
                  <a:lnTo>
                    <a:pt x="453" y="31"/>
                  </a:lnTo>
                  <a:lnTo>
                    <a:pt x="457" y="28"/>
                  </a:lnTo>
                  <a:lnTo>
                    <a:pt x="460" y="26"/>
                  </a:lnTo>
                  <a:lnTo>
                    <a:pt x="460" y="26"/>
                  </a:lnTo>
                  <a:lnTo>
                    <a:pt x="475" y="27"/>
                  </a:lnTo>
                  <a:lnTo>
                    <a:pt x="486" y="27"/>
                  </a:lnTo>
                  <a:lnTo>
                    <a:pt x="491" y="27"/>
                  </a:lnTo>
                  <a:lnTo>
                    <a:pt x="491" y="27"/>
                  </a:lnTo>
                  <a:lnTo>
                    <a:pt x="493" y="25"/>
                  </a:lnTo>
                  <a:lnTo>
                    <a:pt x="495" y="22"/>
                  </a:lnTo>
                  <a:lnTo>
                    <a:pt x="496" y="18"/>
                  </a:lnTo>
                  <a:lnTo>
                    <a:pt x="496" y="18"/>
                  </a:lnTo>
                  <a:lnTo>
                    <a:pt x="501" y="14"/>
                  </a:lnTo>
                  <a:lnTo>
                    <a:pt x="505" y="12"/>
                  </a:lnTo>
                  <a:lnTo>
                    <a:pt x="508" y="10"/>
                  </a:lnTo>
                  <a:lnTo>
                    <a:pt x="508" y="10"/>
                  </a:lnTo>
                  <a:lnTo>
                    <a:pt x="512" y="13"/>
                  </a:lnTo>
                  <a:lnTo>
                    <a:pt x="515" y="18"/>
                  </a:lnTo>
                  <a:lnTo>
                    <a:pt x="521" y="22"/>
                  </a:lnTo>
                  <a:lnTo>
                    <a:pt x="522" y="23"/>
                  </a:lnTo>
                  <a:lnTo>
                    <a:pt x="524" y="23"/>
                  </a:lnTo>
                  <a:lnTo>
                    <a:pt x="524" y="23"/>
                  </a:lnTo>
                  <a:lnTo>
                    <a:pt x="527" y="19"/>
                  </a:lnTo>
                  <a:lnTo>
                    <a:pt x="530" y="14"/>
                  </a:lnTo>
                  <a:lnTo>
                    <a:pt x="532" y="9"/>
                  </a:lnTo>
                  <a:lnTo>
                    <a:pt x="536" y="4"/>
                  </a:lnTo>
                  <a:lnTo>
                    <a:pt x="536" y="4"/>
                  </a:lnTo>
                  <a:lnTo>
                    <a:pt x="541" y="0"/>
                  </a:lnTo>
                  <a:lnTo>
                    <a:pt x="544" y="0"/>
                  </a:lnTo>
                  <a:lnTo>
                    <a:pt x="546" y="1"/>
                  </a:lnTo>
                  <a:lnTo>
                    <a:pt x="549" y="4"/>
                  </a:lnTo>
                  <a:lnTo>
                    <a:pt x="549" y="4"/>
                  </a:lnTo>
                  <a:lnTo>
                    <a:pt x="557" y="9"/>
                  </a:lnTo>
                  <a:lnTo>
                    <a:pt x="566" y="13"/>
                  </a:lnTo>
                  <a:lnTo>
                    <a:pt x="579" y="18"/>
                  </a:lnTo>
                  <a:lnTo>
                    <a:pt x="579" y="18"/>
                  </a:lnTo>
                  <a:lnTo>
                    <a:pt x="584" y="19"/>
                  </a:lnTo>
                  <a:lnTo>
                    <a:pt x="591" y="21"/>
                  </a:lnTo>
                  <a:lnTo>
                    <a:pt x="600" y="22"/>
                  </a:lnTo>
                  <a:lnTo>
                    <a:pt x="600" y="22"/>
                  </a:lnTo>
                  <a:lnTo>
                    <a:pt x="602" y="26"/>
                  </a:lnTo>
                  <a:lnTo>
                    <a:pt x="605" y="30"/>
                  </a:lnTo>
                  <a:lnTo>
                    <a:pt x="606" y="31"/>
                  </a:lnTo>
                  <a:lnTo>
                    <a:pt x="609" y="32"/>
                  </a:lnTo>
                  <a:lnTo>
                    <a:pt x="611" y="32"/>
                  </a:lnTo>
                  <a:lnTo>
                    <a:pt x="615" y="32"/>
                  </a:lnTo>
                  <a:lnTo>
                    <a:pt x="615" y="32"/>
                  </a:lnTo>
                  <a:lnTo>
                    <a:pt x="627" y="30"/>
                  </a:lnTo>
                  <a:lnTo>
                    <a:pt x="641" y="26"/>
                  </a:lnTo>
                  <a:lnTo>
                    <a:pt x="655" y="22"/>
                  </a:lnTo>
                  <a:lnTo>
                    <a:pt x="664" y="21"/>
                  </a:lnTo>
                  <a:lnTo>
                    <a:pt x="664" y="21"/>
                  </a:lnTo>
                  <a:lnTo>
                    <a:pt x="677" y="34"/>
                  </a:lnTo>
                  <a:lnTo>
                    <a:pt x="690" y="47"/>
                  </a:lnTo>
                  <a:lnTo>
                    <a:pt x="705" y="57"/>
                  </a:lnTo>
                  <a:lnTo>
                    <a:pt x="705" y="57"/>
                  </a:lnTo>
                  <a:lnTo>
                    <a:pt x="710" y="61"/>
                  </a:lnTo>
                  <a:lnTo>
                    <a:pt x="714" y="65"/>
                  </a:lnTo>
                  <a:lnTo>
                    <a:pt x="718" y="67"/>
                  </a:lnTo>
                  <a:lnTo>
                    <a:pt x="718" y="67"/>
                  </a:lnTo>
                  <a:lnTo>
                    <a:pt x="727" y="63"/>
                  </a:lnTo>
                  <a:lnTo>
                    <a:pt x="747" y="53"/>
                  </a:lnTo>
                  <a:lnTo>
                    <a:pt x="747" y="53"/>
                  </a:lnTo>
                  <a:lnTo>
                    <a:pt x="767" y="44"/>
                  </a:lnTo>
                  <a:lnTo>
                    <a:pt x="775" y="40"/>
                  </a:lnTo>
                  <a:lnTo>
                    <a:pt x="781" y="35"/>
                  </a:lnTo>
                  <a:lnTo>
                    <a:pt x="781" y="35"/>
                  </a:lnTo>
                  <a:lnTo>
                    <a:pt x="786" y="35"/>
                  </a:lnTo>
                  <a:lnTo>
                    <a:pt x="795" y="37"/>
                  </a:lnTo>
                  <a:lnTo>
                    <a:pt x="807" y="41"/>
                  </a:lnTo>
                  <a:lnTo>
                    <a:pt x="807" y="41"/>
                  </a:lnTo>
                  <a:lnTo>
                    <a:pt x="808" y="47"/>
                  </a:lnTo>
                  <a:lnTo>
                    <a:pt x="811" y="50"/>
                  </a:lnTo>
                  <a:lnTo>
                    <a:pt x="813" y="53"/>
                  </a:lnTo>
                  <a:lnTo>
                    <a:pt x="820" y="54"/>
                  </a:lnTo>
                  <a:lnTo>
                    <a:pt x="820" y="54"/>
                  </a:lnTo>
                  <a:lnTo>
                    <a:pt x="902" y="79"/>
                  </a:lnTo>
                  <a:lnTo>
                    <a:pt x="902" y="79"/>
                  </a:lnTo>
                  <a:lnTo>
                    <a:pt x="921" y="76"/>
                  </a:lnTo>
                  <a:lnTo>
                    <a:pt x="939" y="74"/>
                  </a:lnTo>
                  <a:lnTo>
                    <a:pt x="939" y="74"/>
                  </a:lnTo>
                  <a:lnTo>
                    <a:pt x="946" y="80"/>
                  </a:lnTo>
                  <a:lnTo>
                    <a:pt x="949" y="83"/>
                  </a:lnTo>
                  <a:lnTo>
                    <a:pt x="951" y="84"/>
                  </a:lnTo>
                  <a:lnTo>
                    <a:pt x="953" y="84"/>
                  </a:lnTo>
                  <a:lnTo>
                    <a:pt x="953" y="84"/>
                  </a:lnTo>
                  <a:lnTo>
                    <a:pt x="956" y="82"/>
                  </a:lnTo>
                  <a:lnTo>
                    <a:pt x="960" y="80"/>
                  </a:lnTo>
                  <a:lnTo>
                    <a:pt x="964" y="79"/>
                  </a:lnTo>
                  <a:lnTo>
                    <a:pt x="966" y="80"/>
                  </a:lnTo>
                  <a:lnTo>
                    <a:pt x="966" y="80"/>
                  </a:lnTo>
                  <a:lnTo>
                    <a:pt x="968" y="83"/>
                  </a:lnTo>
                  <a:lnTo>
                    <a:pt x="968" y="85"/>
                  </a:lnTo>
                  <a:lnTo>
                    <a:pt x="969" y="88"/>
                  </a:lnTo>
                  <a:lnTo>
                    <a:pt x="970" y="89"/>
                  </a:lnTo>
                  <a:lnTo>
                    <a:pt x="970" y="89"/>
                  </a:lnTo>
                  <a:lnTo>
                    <a:pt x="972" y="88"/>
                  </a:lnTo>
                  <a:lnTo>
                    <a:pt x="972" y="85"/>
                  </a:lnTo>
                  <a:lnTo>
                    <a:pt x="973" y="80"/>
                  </a:lnTo>
                  <a:lnTo>
                    <a:pt x="973" y="80"/>
                  </a:lnTo>
                  <a:lnTo>
                    <a:pt x="974" y="76"/>
                  </a:lnTo>
                  <a:lnTo>
                    <a:pt x="977" y="74"/>
                  </a:lnTo>
                  <a:lnTo>
                    <a:pt x="977" y="74"/>
                  </a:lnTo>
                  <a:lnTo>
                    <a:pt x="987" y="72"/>
                  </a:lnTo>
                  <a:lnTo>
                    <a:pt x="995" y="72"/>
                  </a:lnTo>
                  <a:lnTo>
                    <a:pt x="999" y="72"/>
                  </a:lnTo>
                  <a:lnTo>
                    <a:pt x="999" y="72"/>
                  </a:lnTo>
                  <a:lnTo>
                    <a:pt x="999" y="75"/>
                  </a:lnTo>
                  <a:lnTo>
                    <a:pt x="999" y="80"/>
                  </a:lnTo>
                  <a:lnTo>
                    <a:pt x="997" y="93"/>
                  </a:lnTo>
                  <a:lnTo>
                    <a:pt x="997" y="93"/>
                  </a:lnTo>
                  <a:lnTo>
                    <a:pt x="997" y="97"/>
                  </a:lnTo>
                  <a:lnTo>
                    <a:pt x="999" y="101"/>
                  </a:lnTo>
                  <a:lnTo>
                    <a:pt x="1004" y="106"/>
                  </a:lnTo>
                  <a:lnTo>
                    <a:pt x="1004" y="106"/>
                  </a:lnTo>
                  <a:lnTo>
                    <a:pt x="1014" y="115"/>
                  </a:lnTo>
                  <a:lnTo>
                    <a:pt x="1029" y="126"/>
                  </a:lnTo>
                  <a:lnTo>
                    <a:pt x="1051" y="140"/>
                  </a:lnTo>
                  <a:lnTo>
                    <a:pt x="1051" y="140"/>
                  </a:lnTo>
                  <a:lnTo>
                    <a:pt x="1061" y="161"/>
                  </a:lnTo>
                  <a:lnTo>
                    <a:pt x="1071" y="180"/>
                  </a:lnTo>
                  <a:lnTo>
                    <a:pt x="1071" y="180"/>
                  </a:lnTo>
                  <a:lnTo>
                    <a:pt x="1084" y="192"/>
                  </a:lnTo>
                  <a:lnTo>
                    <a:pt x="1097" y="203"/>
                  </a:lnTo>
                  <a:lnTo>
                    <a:pt x="1097" y="203"/>
                  </a:lnTo>
                  <a:lnTo>
                    <a:pt x="1101" y="216"/>
                  </a:lnTo>
                  <a:lnTo>
                    <a:pt x="1104" y="229"/>
                  </a:lnTo>
                  <a:lnTo>
                    <a:pt x="1104" y="229"/>
                  </a:lnTo>
                  <a:lnTo>
                    <a:pt x="1105" y="232"/>
                  </a:lnTo>
                  <a:lnTo>
                    <a:pt x="1109" y="234"/>
                  </a:lnTo>
                  <a:lnTo>
                    <a:pt x="1115" y="236"/>
                  </a:lnTo>
                  <a:lnTo>
                    <a:pt x="1121" y="236"/>
                  </a:lnTo>
                  <a:lnTo>
                    <a:pt x="1126" y="236"/>
                  </a:lnTo>
                  <a:lnTo>
                    <a:pt x="1126" y="236"/>
                  </a:lnTo>
                  <a:lnTo>
                    <a:pt x="1130" y="234"/>
                  </a:lnTo>
                  <a:lnTo>
                    <a:pt x="1131" y="234"/>
                  </a:lnTo>
                  <a:lnTo>
                    <a:pt x="1130" y="236"/>
                  </a:lnTo>
                  <a:lnTo>
                    <a:pt x="1148" y="247"/>
                  </a:lnTo>
                  <a:lnTo>
                    <a:pt x="1170" y="259"/>
                  </a:lnTo>
                  <a:lnTo>
                    <a:pt x="1172" y="289"/>
                  </a:lnTo>
                  <a:lnTo>
                    <a:pt x="1158" y="295"/>
                  </a:lnTo>
                  <a:lnTo>
                    <a:pt x="1130" y="291"/>
                  </a:lnTo>
                  <a:lnTo>
                    <a:pt x="1117" y="298"/>
                  </a:lnTo>
                  <a:lnTo>
                    <a:pt x="1106" y="293"/>
                  </a:lnTo>
                  <a:lnTo>
                    <a:pt x="1092" y="299"/>
                  </a:lnTo>
                  <a:lnTo>
                    <a:pt x="1054" y="282"/>
                  </a:lnTo>
                  <a:lnTo>
                    <a:pt x="977" y="330"/>
                  </a:lnTo>
                  <a:lnTo>
                    <a:pt x="953" y="346"/>
                  </a:lnTo>
                  <a:lnTo>
                    <a:pt x="929" y="343"/>
                  </a:lnTo>
                  <a:lnTo>
                    <a:pt x="924" y="355"/>
                  </a:lnTo>
                  <a:lnTo>
                    <a:pt x="911" y="356"/>
                  </a:lnTo>
                  <a:lnTo>
                    <a:pt x="892" y="374"/>
                  </a:lnTo>
                  <a:lnTo>
                    <a:pt x="852" y="383"/>
                  </a:lnTo>
                  <a:lnTo>
                    <a:pt x="832" y="413"/>
                  </a:lnTo>
                  <a:lnTo>
                    <a:pt x="852" y="433"/>
                  </a:lnTo>
                  <a:lnTo>
                    <a:pt x="868" y="420"/>
                  </a:lnTo>
                  <a:lnTo>
                    <a:pt x="873" y="433"/>
                  </a:lnTo>
                  <a:lnTo>
                    <a:pt x="889" y="441"/>
                  </a:lnTo>
                  <a:lnTo>
                    <a:pt x="907" y="459"/>
                  </a:lnTo>
                  <a:lnTo>
                    <a:pt x="905" y="485"/>
                  </a:lnTo>
                  <a:lnTo>
                    <a:pt x="922" y="517"/>
                  </a:lnTo>
                  <a:lnTo>
                    <a:pt x="925" y="553"/>
                  </a:lnTo>
                  <a:lnTo>
                    <a:pt x="931" y="560"/>
                  </a:lnTo>
                  <a:lnTo>
                    <a:pt x="946" y="583"/>
                  </a:lnTo>
                  <a:lnTo>
                    <a:pt x="952" y="609"/>
                  </a:lnTo>
                  <a:lnTo>
                    <a:pt x="952" y="609"/>
                  </a:lnTo>
                  <a:lnTo>
                    <a:pt x="973" y="635"/>
                  </a:lnTo>
                  <a:lnTo>
                    <a:pt x="988" y="654"/>
                  </a:lnTo>
                  <a:lnTo>
                    <a:pt x="992" y="661"/>
                  </a:lnTo>
                  <a:lnTo>
                    <a:pt x="995" y="665"/>
                  </a:lnTo>
                  <a:lnTo>
                    <a:pt x="995" y="665"/>
                  </a:lnTo>
                  <a:lnTo>
                    <a:pt x="992" y="676"/>
                  </a:lnTo>
                  <a:lnTo>
                    <a:pt x="992" y="688"/>
                  </a:lnTo>
                  <a:lnTo>
                    <a:pt x="1000" y="695"/>
                  </a:lnTo>
                  <a:lnTo>
                    <a:pt x="1009" y="717"/>
                  </a:lnTo>
                  <a:lnTo>
                    <a:pt x="992" y="722"/>
                  </a:lnTo>
                  <a:lnTo>
                    <a:pt x="970" y="740"/>
                  </a:lnTo>
                  <a:lnTo>
                    <a:pt x="962" y="758"/>
                  </a:lnTo>
                  <a:lnTo>
                    <a:pt x="992" y="775"/>
                  </a:lnTo>
                  <a:lnTo>
                    <a:pt x="949" y="794"/>
                  </a:lnTo>
                  <a:lnTo>
                    <a:pt x="942" y="819"/>
                  </a:lnTo>
                  <a:lnTo>
                    <a:pt x="942" y="838"/>
                  </a:lnTo>
                  <a:lnTo>
                    <a:pt x="959" y="854"/>
                  </a:lnTo>
                  <a:lnTo>
                    <a:pt x="948" y="864"/>
                  </a:lnTo>
                  <a:lnTo>
                    <a:pt x="961" y="886"/>
                  </a:lnTo>
                  <a:lnTo>
                    <a:pt x="969" y="911"/>
                  </a:lnTo>
                  <a:lnTo>
                    <a:pt x="956" y="911"/>
                  </a:lnTo>
                  <a:lnTo>
                    <a:pt x="935" y="890"/>
                  </a:lnTo>
                  <a:lnTo>
                    <a:pt x="915" y="877"/>
                  </a:lnTo>
                  <a:lnTo>
                    <a:pt x="878" y="875"/>
                  </a:lnTo>
                  <a:lnTo>
                    <a:pt x="863" y="882"/>
                  </a:lnTo>
                  <a:lnTo>
                    <a:pt x="838" y="867"/>
                  </a:lnTo>
                  <a:lnTo>
                    <a:pt x="819" y="856"/>
                  </a:lnTo>
                  <a:lnTo>
                    <a:pt x="789" y="831"/>
                  </a:lnTo>
                  <a:lnTo>
                    <a:pt x="696" y="823"/>
                  </a:lnTo>
                  <a:lnTo>
                    <a:pt x="629" y="842"/>
                  </a:lnTo>
                  <a:lnTo>
                    <a:pt x="580" y="836"/>
                  </a:lnTo>
                  <a:lnTo>
                    <a:pt x="528" y="838"/>
                  </a:lnTo>
                  <a:lnTo>
                    <a:pt x="528" y="838"/>
                  </a:lnTo>
                  <a:lnTo>
                    <a:pt x="499" y="836"/>
                  </a:lnTo>
                  <a:lnTo>
                    <a:pt x="499" y="836"/>
                  </a:lnTo>
                  <a:lnTo>
                    <a:pt x="487" y="834"/>
                  </a:lnTo>
                  <a:lnTo>
                    <a:pt x="474" y="836"/>
                  </a:lnTo>
                  <a:lnTo>
                    <a:pt x="474" y="836"/>
                  </a:lnTo>
                  <a:lnTo>
                    <a:pt x="465" y="844"/>
                  </a:lnTo>
                  <a:lnTo>
                    <a:pt x="454" y="851"/>
                  </a:lnTo>
                  <a:lnTo>
                    <a:pt x="454" y="851"/>
                  </a:lnTo>
                  <a:lnTo>
                    <a:pt x="439" y="854"/>
                  </a:lnTo>
                  <a:lnTo>
                    <a:pt x="429" y="855"/>
                  </a:lnTo>
                  <a:lnTo>
                    <a:pt x="425" y="856"/>
                  </a:lnTo>
                  <a:lnTo>
                    <a:pt x="425" y="856"/>
                  </a:lnTo>
                  <a:lnTo>
                    <a:pt x="417" y="863"/>
                  </a:lnTo>
                  <a:lnTo>
                    <a:pt x="412" y="866"/>
                  </a:lnTo>
                  <a:lnTo>
                    <a:pt x="405" y="867"/>
                  </a:lnTo>
                  <a:lnTo>
                    <a:pt x="405" y="867"/>
                  </a:lnTo>
                  <a:lnTo>
                    <a:pt x="400" y="864"/>
                  </a:lnTo>
                  <a:lnTo>
                    <a:pt x="396" y="862"/>
                  </a:lnTo>
                  <a:lnTo>
                    <a:pt x="392" y="859"/>
                  </a:lnTo>
                  <a:lnTo>
                    <a:pt x="388" y="858"/>
                  </a:lnTo>
                  <a:lnTo>
                    <a:pt x="388" y="858"/>
                  </a:lnTo>
                  <a:lnTo>
                    <a:pt x="382" y="858"/>
                  </a:lnTo>
                  <a:lnTo>
                    <a:pt x="373" y="859"/>
                  </a:lnTo>
                  <a:lnTo>
                    <a:pt x="359" y="862"/>
                  </a:lnTo>
                  <a:lnTo>
                    <a:pt x="359" y="862"/>
                  </a:lnTo>
                  <a:lnTo>
                    <a:pt x="351" y="860"/>
                  </a:lnTo>
                  <a:lnTo>
                    <a:pt x="346" y="859"/>
                  </a:lnTo>
                  <a:lnTo>
                    <a:pt x="339" y="859"/>
                  </a:lnTo>
                  <a:lnTo>
                    <a:pt x="339" y="859"/>
                  </a:lnTo>
                  <a:lnTo>
                    <a:pt x="334" y="859"/>
                  </a:lnTo>
                  <a:lnTo>
                    <a:pt x="330" y="860"/>
                  </a:lnTo>
                  <a:lnTo>
                    <a:pt x="326" y="862"/>
                  </a:lnTo>
                  <a:lnTo>
                    <a:pt x="325" y="863"/>
                  </a:lnTo>
                  <a:lnTo>
                    <a:pt x="325" y="863"/>
                  </a:lnTo>
                  <a:lnTo>
                    <a:pt x="324" y="860"/>
                  </a:lnTo>
                  <a:lnTo>
                    <a:pt x="322" y="859"/>
                  </a:lnTo>
                  <a:lnTo>
                    <a:pt x="321" y="858"/>
                  </a:lnTo>
                  <a:lnTo>
                    <a:pt x="320" y="859"/>
                  </a:lnTo>
                  <a:lnTo>
                    <a:pt x="320" y="859"/>
                  </a:lnTo>
                  <a:lnTo>
                    <a:pt x="317" y="860"/>
                  </a:lnTo>
                  <a:lnTo>
                    <a:pt x="313" y="860"/>
                  </a:lnTo>
                  <a:lnTo>
                    <a:pt x="304" y="860"/>
                  </a:lnTo>
                  <a:lnTo>
                    <a:pt x="295" y="860"/>
                  </a:lnTo>
                  <a:lnTo>
                    <a:pt x="291" y="859"/>
                  </a:lnTo>
                  <a:lnTo>
                    <a:pt x="291" y="859"/>
                  </a:lnTo>
                  <a:lnTo>
                    <a:pt x="293" y="856"/>
                  </a:lnTo>
                  <a:lnTo>
                    <a:pt x="296" y="854"/>
                  </a:lnTo>
                  <a:lnTo>
                    <a:pt x="299" y="850"/>
                  </a:lnTo>
                  <a:lnTo>
                    <a:pt x="302" y="847"/>
                  </a:lnTo>
                  <a:lnTo>
                    <a:pt x="302" y="847"/>
                  </a:lnTo>
                  <a:lnTo>
                    <a:pt x="300" y="845"/>
                  </a:lnTo>
                  <a:lnTo>
                    <a:pt x="299" y="844"/>
                  </a:lnTo>
                  <a:lnTo>
                    <a:pt x="295" y="842"/>
                  </a:lnTo>
                  <a:lnTo>
                    <a:pt x="287" y="841"/>
                  </a:lnTo>
                  <a:lnTo>
                    <a:pt x="287" y="841"/>
                  </a:lnTo>
                  <a:lnTo>
                    <a:pt x="283" y="840"/>
                  </a:lnTo>
                  <a:lnTo>
                    <a:pt x="280" y="838"/>
                  </a:lnTo>
                  <a:lnTo>
                    <a:pt x="276" y="836"/>
                  </a:lnTo>
                  <a:lnTo>
                    <a:pt x="272" y="836"/>
                  </a:lnTo>
                  <a:lnTo>
                    <a:pt x="272" y="836"/>
                  </a:lnTo>
                  <a:lnTo>
                    <a:pt x="267" y="834"/>
                  </a:lnTo>
                  <a:lnTo>
                    <a:pt x="261" y="834"/>
                  </a:lnTo>
                  <a:lnTo>
                    <a:pt x="258" y="832"/>
                  </a:lnTo>
                  <a:lnTo>
                    <a:pt x="256" y="829"/>
                  </a:lnTo>
                  <a:lnTo>
                    <a:pt x="256" y="827"/>
                  </a:lnTo>
                  <a:lnTo>
                    <a:pt x="256" y="827"/>
                  </a:lnTo>
                  <a:lnTo>
                    <a:pt x="256" y="823"/>
                  </a:lnTo>
                  <a:lnTo>
                    <a:pt x="255" y="820"/>
                  </a:lnTo>
                  <a:lnTo>
                    <a:pt x="252" y="819"/>
                  </a:lnTo>
                  <a:lnTo>
                    <a:pt x="252" y="818"/>
                  </a:lnTo>
                  <a:lnTo>
                    <a:pt x="252" y="818"/>
                  </a:lnTo>
                  <a:lnTo>
                    <a:pt x="252" y="814"/>
                  </a:lnTo>
                  <a:lnTo>
                    <a:pt x="252" y="812"/>
                  </a:lnTo>
                  <a:lnTo>
                    <a:pt x="252" y="811"/>
                  </a:lnTo>
                  <a:lnTo>
                    <a:pt x="252" y="811"/>
                  </a:lnTo>
                  <a:lnTo>
                    <a:pt x="248" y="809"/>
                  </a:lnTo>
                  <a:lnTo>
                    <a:pt x="246" y="806"/>
                  </a:lnTo>
                  <a:lnTo>
                    <a:pt x="246" y="806"/>
                  </a:lnTo>
                  <a:lnTo>
                    <a:pt x="246" y="796"/>
                  </a:lnTo>
                  <a:lnTo>
                    <a:pt x="246" y="789"/>
                  </a:lnTo>
                  <a:lnTo>
                    <a:pt x="247" y="787"/>
                  </a:lnTo>
                  <a:lnTo>
                    <a:pt x="247" y="787"/>
                  </a:lnTo>
                  <a:lnTo>
                    <a:pt x="254" y="779"/>
                  </a:lnTo>
                  <a:lnTo>
                    <a:pt x="259" y="774"/>
                  </a:lnTo>
                  <a:lnTo>
                    <a:pt x="261" y="771"/>
                  </a:lnTo>
                  <a:lnTo>
                    <a:pt x="261" y="771"/>
                  </a:lnTo>
                  <a:lnTo>
                    <a:pt x="260" y="767"/>
                  </a:lnTo>
                  <a:lnTo>
                    <a:pt x="259" y="762"/>
                  </a:lnTo>
                  <a:lnTo>
                    <a:pt x="256" y="759"/>
                  </a:lnTo>
                  <a:lnTo>
                    <a:pt x="255" y="758"/>
                  </a:lnTo>
                  <a:lnTo>
                    <a:pt x="255" y="758"/>
                  </a:lnTo>
                  <a:lnTo>
                    <a:pt x="247" y="761"/>
                  </a:lnTo>
                  <a:lnTo>
                    <a:pt x="242" y="761"/>
                  </a:lnTo>
                  <a:lnTo>
                    <a:pt x="239" y="761"/>
                  </a:lnTo>
                  <a:lnTo>
                    <a:pt x="238" y="758"/>
                  </a:lnTo>
                  <a:lnTo>
                    <a:pt x="238" y="758"/>
                  </a:lnTo>
                  <a:lnTo>
                    <a:pt x="237" y="757"/>
                  </a:lnTo>
                  <a:lnTo>
                    <a:pt x="234" y="757"/>
                  </a:lnTo>
                  <a:lnTo>
                    <a:pt x="226" y="757"/>
                  </a:lnTo>
                  <a:lnTo>
                    <a:pt x="219" y="757"/>
                  </a:lnTo>
                  <a:lnTo>
                    <a:pt x="213" y="755"/>
                  </a:lnTo>
                  <a:lnTo>
                    <a:pt x="213" y="755"/>
                  </a:lnTo>
                  <a:lnTo>
                    <a:pt x="203" y="749"/>
                  </a:lnTo>
                  <a:lnTo>
                    <a:pt x="199" y="745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212" y="727"/>
                  </a:lnTo>
                  <a:lnTo>
                    <a:pt x="224" y="717"/>
                  </a:lnTo>
                  <a:lnTo>
                    <a:pt x="224" y="717"/>
                  </a:lnTo>
                  <a:lnTo>
                    <a:pt x="226" y="711"/>
                  </a:lnTo>
                  <a:lnTo>
                    <a:pt x="229" y="709"/>
                  </a:lnTo>
                  <a:lnTo>
                    <a:pt x="230" y="707"/>
                  </a:lnTo>
                  <a:lnTo>
                    <a:pt x="230" y="707"/>
                  </a:lnTo>
                  <a:lnTo>
                    <a:pt x="233" y="706"/>
                  </a:lnTo>
                  <a:lnTo>
                    <a:pt x="234" y="704"/>
                  </a:lnTo>
                  <a:lnTo>
                    <a:pt x="234" y="700"/>
                  </a:lnTo>
                  <a:lnTo>
                    <a:pt x="234" y="700"/>
                  </a:lnTo>
                  <a:lnTo>
                    <a:pt x="233" y="696"/>
                  </a:lnTo>
                  <a:lnTo>
                    <a:pt x="233" y="691"/>
                  </a:lnTo>
                  <a:lnTo>
                    <a:pt x="232" y="685"/>
                  </a:lnTo>
                  <a:lnTo>
                    <a:pt x="233" y="678"/>
                  </a:lnTo>
                  <a:lnTo>
                    <a:pt x="233" y="678"/>
                  </a:lnTo>
                  <a:lnTo>
                    <a:pt x="235" y="669"/>
                  </a:lnTo>
                  <a:lnTo>
                    <a:pt x="235" y="658"/>
                  </a:lnTo>
                  <a:lnTo>
                    <a:pt x="234" y="650"/>
                  </a:lnTo>
                  <a:lnTo>
                    <a:pt x="233" y="645"/>
                  </a:lnTo>
                  <a:lnTo>
                    <a:pt x="233" y="645"/>
                  </a:lnTo>
                  <a:lnTo>
                    <a:pt x="229" y="641"/>
                  </a:lnTo>
                  <a:lnTo>
                    <a:pt x="221" y="636"/>
                  </a:lnTo>
                  <a:lnTo>
                    <a:pt x="213" y="631"/>
                  </a:lnTo>
                  <a:lnTo>
                    <a:pt x="211" y="627"/>
                  </a:lnTo>
                  <a:lnTo>
                    <a:pt x="208" y="623"/>
                  </a:lnTo>
                  <a:lnTo>
                    <a:pt x="203" y="626"/>
                  </a:lnTo>
                  <a:lnTo>
                    <a:pt x="194" y="615"/>
                  </a:lnTo>
                  <a:lnTo>
                    <a:pt x="188" y="614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69" y="610"/>
                  </a:lnTo>
                  <a:lnTo>
                    <a:pt x="160" y="610"/>
                  </a:lnTo>
                  <a:lnTo>
                    <a:pt x="154" y="609"/>
                  </a:lnTo>
                  <a:lnTo>
                    <a:pt x="154" y="609"/>
                  </a:lnTo>
                  <a:lnTo>
                    <a:pt x="143" y="605"/>
                  </a:lnTo>
                  <a:lnTo>
                    <a:pt x="134" y="599"/>
                  </a:lnTo>
                  <a:lnTo>
                    <a:pt x="134" y="599"/>
                  </a:lnTo>
                  <a:lnTo>
                    <a:pt x="127" y="593"/>
                  </a:lnTo>
                  <a:lnTo>
                    <a:pt x="121" y="590"/>
                  </a:lnTo>
                  <a:lnTo>
                    <a:pt x="119" y="587"/>
                  </a:lnTo>
                  <a:lnTo>
                    <a:pt x="118" y="584"/>
                  </a:lnTo>
                  <a:lnTo>
                    <a:pt x="118" y="584"/>
                  </a:lnTo>
                  <a:lnTo>
                    <a:pt x="116" y="577"/>
                  </a:lnTo>
                  <a:lnTo>
                    <a:pt x="116" y="566"/>
                  </a:lnTo>
                  <a:lnTo>
                    <a:pt x="116" y="551"/>
                  </a:lnTo>
                  <a:lnTo>
                    <a:pt x="101" y="535"/>
                  </a:lnTo>
                  <a:lnTo>
                    <a:pt x="79" y="525"/>
                  </a:lnTo>
                  <a:lnTo>
                    <a:pt x="79" y="525"/>
                  </a:lnTo>
                  <a:lnTo>
                    <a:pt x="70" y="521"/>
                  </a:lnTo>
                  <a:lnTo>
                    <a:pt x="59" y="516"/>
                  </a:lnTo>
                  <a:lnTo>
                    <a:pt x="51" y="501"/>
                  </a:lnTo>
                  <a:lnTo>
                    <a:pt x="46" y="477"/>
                  </a:lnTo>
                  <a:lnTo>
                    <a:pt x="5" y="477"/>
                  </a:lnTo>
                  <a:lnTo>
                    <a:pt x="0" y="447"/>
                  </a:lnTo>
                  <a:lnTo>
                    <a:pt x="35" y="447"/>
                  </a:lnTo>
                  <a:lnTo>
                    <a:pt x="11" y="356"/>
                  </a:lnTo>
                  <a:lnTo>
                    <a:pt x="24" y="333"/>
                  </a:lnTo>
                  <a:lnTo>
                    <a:pt x="28" y="308"/>
                  </a:lnTo>
                  <a:lnTo>
                    <a:pt x="28" y="308"/>
                  </a:lnTo>
                  <a:lnTo>
                    <a:pt x="42" y="277"/>
                  </a:lnTo>
                  <a:lnTo>
                    <a:pt x="110" y="201"/>
                  </a:lnTo>
                  <a:lnTo>
                    <a:pt x="143" y="192"/>
                  </a:lnTo>
                  <a:lnTo>
                    <a:pt x="181" y="163"/>
                  </a:lnTo>
                  <a:lnTo>
                    <a:pt x="204" y="157"/>
                  </a:lnTo>
                  <a:lnTo>
                    <a:pt x="220" y="157"/>
                  </a:lnTo>
                  <a:lnTo>
                    <a:pt x="274" y="141"/>
                  </a:lnTo>
                  <a:lnTo>
                    <a:pt x="303" y="150"/>
                  </a:lnTo>
                  <a:lnTo>
                    <a:pt x="313" y="152"/>
                  </a:lnTo>
                  <a:lnTo>
                    <a:pt x="396" y="168"/>
                  </a:lnTo>
                  <a:lnTo>
                    <a:pt x="474" y="154"/>
                  </a:lnTo>
                  <a:lnTo>
                    <a:pt x="473" y="133"/>
                  </a:lnTo>
                  <a:lnTo>
                    <a:pt x="451" y="40"/>
                  </a:lnTo>
                  <a:lnTo>
                    <a:pt x="449" y="37"/>
                  </a:lnTo>
                  <a:lnTo>
                    <a:pt x="448" y="36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80" name="Freeform 198"/>
            <p:cNvSpPr>
              <a:spLocks/>
            </p:cNvSpPr>
            <p:nvPr/>
          </p:nvSpPr>
          <p:spPr bwMode="auto">
            <a:xfrm>
              <a:off x="6499225" y="2559050"/>
              <a:ext cx="2087563" cy="1730375"/>
            </a:xfrm>
            <a:custGeom>
              <a:avLst/>
              <a:gdLst>
                <a:gd name="T0" fmla="*/ 804 w 1315"/>
                <a:gd name="T1" fmla="*/ 1046 h 1090"/>
                <a:gd name="T2" fmla="*/ 719 w 1315"/>
                <a:gd name="T3" fmla="*/ 926 h 1090"/>
                <a:gd name="T4" fmla="*/ 686 w 1315"/>
                <a:gd name="T5" fmla="*/ 934 h 1090"/>
                <a:gd name="T6" fmla="*/ 540 w 1315"/>
                <a:gd name="T7" fmla="*/ 908 h 1090"/>
                <a:gd name="T8" fmla="*/ 438 w 1315"/>
                <a:gd name="T9" fmla="*/ 921 h 1090"/>
                <a:gd name="T10" fmla="*/ 326 w 1315"/>
                <a:gd name="T11" fmla="*/ 885 h 1090"/>
                <a:gd name="T12" fmla="*/ 256 w 1315"/>
                <a:gd name="T13" fmla="*/ 858 h 1090"/>
                <a:gd name="T14" fmla="*/ 216 w 1315"/>
                <a:gd name="T15" fmla="*/ 872 h 1090"/>
                <a:gd name="T16" fmla="*/ 145 w 1315"/>
                <a:gd name="T17" fmla="*/ 890 h 1090"/>
                <a:gd name="T18" fmla="*/ 81 w 1315"/>
                <a:gd name="T19" fmla="*/ 884 h 1090"/>
                <a:gd name="T20" fmla="*/ 95 w 1315"/>
                <a:gd name="T21" fmla="*/ 793 h 1090"/>
                <a:gd name="T22" fmla="*/ 115 w 1315"/>
                <a:gd name="T23" fmla="*/ 717 h 1090"/>
                <a:gd name="T24" fmla="*/ 76 w 1315"/>
                <a:gd name="T25" fmla="*/ 685 h 1090"/>
                <a:gd name="T26" fmla="*/ 95 w 1315"/>
                <a:gd name="T27" fmla="*/ 645 h 1090"/>
                <a:gd name="T28" fmla="*/ 42 w 1315"/>
                <a:gd name="T29" fmla="*/ 552 h 1090"/>
                <a:gd name="T30" fmla="*/ 41 w 1315"/>
                <a:gd name="T31" fmla="*/ 526 h 1090"/>
                <a:gd name="T32" fmla="*/ 15 w 1315"/>
                <a:gd name="T33" fmla="*/ 456 h 1090"/>
                <a:gd name="T34" fmla="*/ 62 w 1315"/>
                <a:gd name="T35" fmla="*/ 408 h 1090"/>
                <a:gd name="T36" fmla="*/ 102 w 1315"/>
                <a:gd name="T37" fmla="*/ 337 h 1090"/>
                <a:gd name="T38" fmla="*/ 182 w 1315"/>
                <a:gd name="T39" fmla="*/ 328 h 1090"/>
                <a:gd name="T40" fmla="*/ 242 w 1315"/>
                <a:gd name="T41" fmla="*/ 280 h 1090"/>
                <a:gd name="T42" fmla="*/ 222 w 1315"/>
                <a:gd name="T43" fmla="*/ 220 h 1090"/>
                <a:gd name="T44" fmla="*/ 198 w 1315"/>
                <a:gd name="T45" fmla="*/ 185 h 1090"/>
                <a:gd name="T46" fmla="*/ 155 w 1315"/>
                <a:gd name="T47" fmla="*/ 157 h 1090"/>
                <a:gd name="T48" fmla="*/ 159 w 1315"/>
                <a:gd name="T49" fmla="*/ 115 h 1090"/>
                <a:gd name="T50" fmla="*/ 200 w 1315"/>
                <a:gd name="T51" fmla="*/ 94 h 1090"/>
                <a:gd name="T52" fmla="*/ 207 w 1315"/>
                <a:gd name="T53" fmla="*/ 58 h 1090"/>
                <a:gd name="T54" fmla="*/ 254 w 1315"/>
                <a:gd name="T55" fmla="*/ 21 h 1090"/>
                <a:gd name="T56" fmla="*/ 393 w 1315"/>
                <a:gd name="T57" fmla="*/ 164 h 1090"/>
                <a:gd name="T58" fmla="*/ 421 w 1315"/>
                <a:gd name="T59" fmla="*/ 122 h 1090"/>
                <a:gd name="T60" fmla="*/ 421 w 1315"/>
                <a:gd name="T61" fmla="*/ 70 h 1090"/>
                <a:gd name="T62" fmla="*/ 467 w 1315"/>
                <a:gd name="T63" fmla="*/ 54 h 1090"/>
                <a:gd name="T64" fmla="*/ 504 w 1315"/>
                <a:gd name="T65" fmla="*/ 69 h 1090"/>
                <a:gd name="T66" fmla="*/ 523 w 1315"/>
                <a:gd name="T67" fmla="*/ 97 h 1090"/>
                <a:gd name="T68" fmla="*/ 585 w 1315"/>
                <a:gd name="T69" fmla="*/ 126 h 1090"/>
                <a:gd name="T70" fmla="*/ 677 w 1315"/>
                <a:gd name="T71" fmla="*/ 111 h 1090"/>
                <a:gd name="T72" fmla="*/ 719 w 1315"/>
                <a:gd name="T73" fmla="*/ 75 h 1090"/>
                <a:gd name="T74" fmla="*/ 773 w 1315"/>
                <a:gd name="T75" fmla="*/ 40 h 1090"/>
                <a:gd name="T76" fmla="*/ 848 w 1315"/>
                <a:gd name="T77" fmla="*/ 78 h 1090"/>
                <a:gd name="T78" fmla="*/ 900 w 1315"/>
                <a:gd name="T79" fmla="*/ 152 h 1090"/>
                <a:gd name="T80" fmla="*/ 944 w 1315"/>
                <a:gd name="T81" fmla="*/ 157 h 1090"/>
                <a:gd name="T82" fmla="*/ 1005 w 1315"/>
                <a:gd name="T83" fmla="*/ 183 h 1090"/>
                <a:gd name="T84" fmla="*/ 1017 w 1315"/>
                <a:gd name="T85" fmla="*/ 207 h 1090"/>
                <a:gd name="T86" fmla="*/ 1093 w 1315"/>
                <a:gd name="T87" fmla="*/ 242 h 1090"/>
                <a:gd name="T88" fmla="*/ 1168 w 1315"/>
                <a:gd name="T89" fmla="*/ 238 h 1090"/>
                <a:gd name="T90" fmla="*/ 1224 w 1315"/>
                <a:gd name="T91" fmla="*/ 181 h 1090"/>
                <a:gd name="T92" fmla="*/ 1227 w 1315"/>
                <a:gd name="T93" fmla="*/ 216 h 1090"/>
                <a:gd name="T94" fmla="*/ 1260 w 1315"/>
                <a:gd name="T95" fmla="*/ 246 h 1090"/>
                <a:gd name="T96" fmla="*/ 1315 w 1315"/>
                <a:gd name="T97" fmla="*/ 267 h 1090"/>
                <a:gd name="T98" fmla="*/ 1273 w 1315"/>
                <a:gd name="T99" fmla="*/ 285 h 1090"/>
                <a:gd name="T100" fmla="*/ 1263 w 1315"/>
                <a:gd name="T101" fmla="*/ 334 h 1090"/>
                <a:gd name="T102" fmla="*/ 1271 w 1315"/>
                <a:gd name="T103" fmla="*/ 378 h 1090"/>
                <a:gd name="T104" fmla="*/ 1244 w 1315"/>
                <a:gd name="T105" fmla="*/ 422 h 1090"/>
                <a:gd name="T106" fmla="*/ 1187 w 1315"/>
                <a:gd name="T107" fmla="*/ 447 h 1090"/>
                <a:gd name="T108" fmla="*/ 1153 w 1315"/>
                <a:gd name="T109" fmla="*/ 542 h 1090"/>
                <a:gd name="T110" fmla="*/ 1210 w 1315"/>
                <a:gd name="T111" fmla="*/ 679 h 1090"/>
                <a:gd name="T112" fmla="*/ 1142 w 1315"/>
                <a:gd name="T113" fmla="*/ 754 h 1090"/>
                <a:gd name="T114" fmla="*/ 1060 w 1315"/>
                <a:gd name="T115" fmla="*/ 755 h 1090"/>
                <a:gd name="T116" fmla="*/ 993 w 1315"/>
                <a:gd name="T117" fmla="*/ 776 h 1090"/>
                <a:gd name="T118" fmla="*/ 912 w 1315"/>
                <a:gd name="T119" fmla="*/ 758 h 1090"/>
                <a:gd name="T120" fmla="*/ 877 w 1315"/>
                <a:gd name="T121" fmla="*/ 787 h 1090"/>
                <a:gd name="T122" fmla="*/ 856 w 1315"/>
                <a:gd name="T123" fmla="*/ 947 h 1090"/>
                <a:gd name="T124" fmla="*/ 842 w 1315"/>
                <a:gd name="T125" fmla="*/ 1012 h 1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5" h="1090">
                  <a:moveTo>
                    <a:pt x="841" y="1069"/>
                  </a:moveTo>
                  <a:lnTo>
                    <a:pt x="841" y="1069"/>
                  </a:lnTo>
                  <a:lnTo>
                    <a:pt x="842" y="1075"/>
                  </a:lnTo>
                  <a:lnTo>
                    <a:pt x="843" y="1082"/>
                  </a:lnTo>
                  <a:lnTo>
                    <a:pt x="846" y="1090"/>
                  </a:lnTo>
                  <a:lnTo>
                    <a:pt x="846" y="1090"/>
                  </a:lnTo>
                  <a:lnTo>
                    <a:pt x="841" y="1090"/>
                  </a:lnTo>
                  <a:lnTo>
                    <a:pt x="835" y="1090"/>
                  </a:lnTo>
                  <a:lnTo>
                    <a:pt x="829" y="1088"/>
                  </a:lnTo>
                  <a:lnTo>
                    <a:pt x="825" y="1086"/>
                  </a:lnTo>
                  <a:lnTo>
                    <a:pt x="824" y="1083"/>
                  </a:lnTo>
                  <a:lnTo>
                    <a:pt x="824" y="1083"/>
                  </a:lnTo>
                  <a:lnTo>
                    <a:pt x="820" y="1070"/>
                  </a:lnTo>
                  <a:lnTo>
                    <a:pt x="817" y="1057"/>
                  </a:lnTo>
                  <a:lnTo>
                    <a:pt x="817" y="1057"/>
                  </a:lnTo>
                  <a:lnTo>
                    <a:pt x="804" y="1046"/>
                  </a:lnTo>
                  <a:lnTo>
                    <a:pt x="791" y="1034"/>
                  </a:lnTo>
                  <a:lnTo>
                    <a:pt x="791" y="1034"/>
                  </a:lnTo>
                  <a:lnTo>
                    <a:pt x="781" y="1015"/>
                  </a:lnTo>
                  <a:lnTo>
                    <a:pt x="771" y="994"/>
                  </a:lnTo>
                  <a:lnTo>
                    <a:pt x="771" y="994"/>
                  </a:lnTo>
                  <a:lnTo>
                    <a:pt x="749" y="980"/>
                  </a:lnTo>
                  <a:lnTo>
                    <a:pt x="734" y="969"/>
                  </a:lnTo>
                  <a:lnTo>
                    <a:pt x="724" y="960"/>
                  </a:lnTo>
                  <a:lnTo>
                    <a:pt x="724" y="960"/>
                  </a:lnTo>
                  <a:lnTo>
                    <a:pt x="719" y="955"/>
                  </a:lnTo>
                  <a:lnTo>
                    <a:pt x="717" y="951"/>
                  </a:lnTo>
                  <a:lnTo>
                    <a:pt x="717" y="947"/>
                  </a:lnTo>
                  <a:lnTo>
                    <a:pt x="717" y="947"/>
                  </a:lnTo>
                  <a:lnTo>
                    <a:pt x="719" y="934"/>
                  </a:lnTo>
                  <a:lnTo>
                    <a:pt x="719" y="929"/>
                  </a:lnTo>
                  <a:lnTo>
                    <a:pt x="719" y="926"/>
                  </a:lnTo>
                  <a:lnTo>
                    <a:pt x="719" y="926"/>
                  </a:lnTo>
                  <a:lnTo>
                    <a:pt x="715" y="926"/>
                  </a:lnTo>
                  <a:lnTo>
                    <a:pt x="707" y="926"/>
                  </a:lnTo>
                  <a:lnTo>
                    <a:pt x="697" y="928"/>
                  </a:lnTo>
                  <a:lnTo>
                    <a:pt x="697" y="928"/>
                  </a:lnTo>
                  <a:lnTo>
                    <a:pt x="694" y="930"/>
                  </a:lnTo>
                  <a:lnTo>
                    <a:pt x="693" y="934"/>
                  </a:lnTo>
                  <a:lnTo>
                    <a:pt x="693" y="934"/>
                  </a:lnTo>
                  <a:lnTo>
                    <a:pt x="692" y="939"/>
                  </a:lnTo>
                  <a:lnTo>
                    <a:pt x="692" y="942"/>
                  </a:lnTo>
                  <a:lnTo>
                    <a:pt x="690" y="943"/>
                  </a:lnTo>
                  <a:lnTo>
                    <a:pt x="690" y="943"/>
                  </a:lnTo>
                  <a:lnTo>
                    <a:pt x="689" y="942"/>
                  </a:lnTo>
                  <a:lnTo>
                    <a:pt x="688" y="939"/>
                  </a:lnTo>
                  <a:lnTo>
                    <a:pt x="688" y="937"/>
                  </a:lnTo>
                  <a:lnTo>
                    <a:pt x="686" y="934"/>
                  </a:lnTo>
                  <a:lnTo>
                    <a:pt x="686" y="934"/>
                  </a:lnTo>
                  <a:lnTo>
                    <a:pt x="684" y="933"/>
                  </a:lnTo>
                  <a:lnTo>
                    <a:pt x="680" y="934"/>
                  </a:lnTo>
                  <a:lnTo>
                    <a:pt x="676" y="936"/>
                  </a:lnTo>
                  <a:lnTo>
                    <a:pt x="672" y="938"/>
                  </a:lnTo>
                  <a:lnTo>
                    <a:pt x="672" y="938"/>
                  </a:lnTo>
                  <a:lnTo>
                    <a:pt x="671" y="938"/>
                  </a:lnTo>
                  <a:lnTo>
                    <a:pt x="669" y="937"/>
                  </a:lnTo>
                  <a:lnTo>
                    <a:pt x="666" y="934"/>
                  </a:lnTo>
                  <a:lnTo>
                    <a:pt x="659" y="928"/>
                  </a:lnTo>
                  <a:lnTo>
                    <a:pt x="659" y="928"/>
                  </a:lnTo>
                  <a:lnTo>
                    <a:pt x="641" y="930"/>
                  </a:lnTo>
                  <a:lnTo>
                    <a:pt x="622" y="933"/>
                  </a:lnTo>
                  <a:lnTo>
                    <a:pt x="622" y="933"/>
                  </a:lnTo>
                  <a:lnTo>
                    <a:pt x="540" y="908"/>
                  </a:lnTo>
                  <a:lnTo>
                    <a:pt x="540" y="908"/>
                  </a:lnTo>
                  <a:lnTo>
                    <a:pt x="533" y="907"/>
                  </a:lnTo>
                  <a:lnTo>
                    <a:pt x="531" y="904"/>
                  </a:lnTo>
                  <a:lnTo>
                    <a:pt x="528" y="901"/>
                  </a:lnTo>
                  <a:lnTo>
                    <a:pt x="527" y="895"/>
                  </a:lnTo>
                  <a:lnTo>
                    <a:pt x="527" y="895"/>
                  </a:lnTo>
                  <a:lnTo>
                    <a:pt x="515" y="891"/>
                  </a:lnTo>
                  <a:lnTo>
                    <a:pt x="506" y="889"/>
                  </a:lnTo>
                  <a:lnTo>
                    <a:pt x="501" y="889"/>
                  </a:lnTo>
                  <a:lnTo>
                    <a:pt x="501" y="889"/>
                  </a:lnTo>
                  <a:lnTo>
                    <a:pt x="495" y="893"/>
                  </a:lnTo>
                  <a:lnTo>
                    <a:pt x="487" y="898"/>
                  </a:lnTo>
                  <a:lnTo>
                    <a:pt x="467" y="907"/>
                  </a:lnTo>
                  <a:lnTo>
                    <a:pt x="467" y="907"/>
                  </a:lnTo>
                  <a:lnTo>
                    <a:pt x="447" y="917"/>
                  </a:lnTo>
                  <a:lnTo>
                    <a:pt x="438" y="921"/>
                  </a:lnTo>
                  <a:lnTo>
                    <a:pt x="438" y="921"/>
                  </a:lnTo>
                  <a:lnTo>
                    <a:pt x="434" y="919"/>
                  </a:lnTo>
                  <a:lnTo>
                    <a:pt x="430" y="915"/>
                  </a:lnTo>
                  <a:lnTo>
                    <a:pt x="425" y="911"/>
                  </a:lnTo>
                  <a:lnTo>
                    <a:pt x="425" y="911"/>
                  </a:lnTo>
                  <a:lnTo>
                    <a:pt x="410" y="901"/>
                  </a:lnTo>
                  <a:lnTo>
                    <a:pt x="397" y="888"/>
                  </a:lnTo>
                  <a:lnTo>
                    <a:pt x="383" y="875"/>
                  </a:lnTo>
                  <a:lnTo>
                    <a:pt x="383" y="875"/>
                  </a:lnTo>
                  <a:lnTo>
                    <a:pt x="375" y="876"/>
                  </a:lnTo>
                  <a:lnTo>
                    <a:pt x="361" y="880"/>
                  </a:lnTo>
                  <a:lnTo>
                    <a:pt x="347" y="884"/>
                  </a:lnTo>
                  <a:lnTo>
                    <a:pt x="335" y="886"/>
                  </a:lnTo>
                  <a:lnTo>
                    <a:pt x="335" y="886"/>
                  </a:lnTo>
                  <a:lnTo>
                    <a:pt x="331" y="886"/>
                  </a:lnTo>
                  <a:lnTo>
                    <a:pt x="329" y="886"/>
                  </a:lnTo>
                  <a:lnTo>
                    <a:pt x="326" y="885"/>
                  </a:lnTo>
                  <a:lnTo>
                    <a:pt x="325" y="884"/>
                  </a:lnTo>
                  <a:lnTo>
                    <a:pt x="322" y="880"/>
                  </a:lnTo>
                  <a:lnTo>
                    <a:pt x="320" y="876"/>
                  </a:lnTo>
                  <a:lnTo>
                    <a:pt x="320" y="876"/>
                  </a:lnTo>
                  <a:lnTo>
                    <a:pt x="311" y="875"/>
                  </a:lnTo>
                  <a:lnTo>
                    <a:pt x="303" y="873"/>
                  </a:lnTo>
                  <a:lnTo>
                    <a:pt x="299" y="872"/>
                  </a:lnTo>
                  <a:lnTo>
                    <a:pt x="299" y="872"/>
                  </a:lnTo>
                  <a:lnTo>
                    <a:pt x="286" y="867"/>
                  </a:lnTo>
                  <a:lnTo>
                    <a:pt x="277" y="863"/>
                  </a:lnTo>
                  <a:lnTo>
                    <a:pt x="269" y="858"/>
                  </a:lnTo>
                  <a:lnTo>
                    <a:pt x="269" y="858"/>
                  </a:lnTo>
                  <a:lnTo>
                    <a:pt x="266" y="855"/>
                  </a:lnTo>
                  <a:lnTo>
                    <a:pt x="264" y="854"/>
                  </a:lnTo>
                  <a:lnTo>
                    <a:pt x="261" y="854"/>
                  </a:lnTo>
                  <a:lnTo>
                    <a:pt x="256" y="858"/>
                  </a:lnTo>
                  <a:lnTo>
                    <a:pt x="256" y="858"/>
                  </a:lnTo>
                  <a:lnTo>
                    <a:pt x="252" y="863"/>
                  </a:lnTo>
                  <a:lnTo>
                    <a:pt x="250" y="868"/>
                  </a:lnTo>
                  <a:lnTo>
                    <a:pt x="247" y="873"/>
                  </a:lnTo>
                  <a:lnTo>
                    <a:pt x="244" y="877"/>
                  </a:lnTo>
                  <a:lnTo>
                    <a:pt x="244" y="877"/>
                  </a:lnTo>
                  <a:lnTo>
                    <a:pt x="242" y="877"/>
                  </a:lnTo>
                  <a:lnTo>
                    <a:pt x="241" y="876"/>
                  </a:lnTo>
                  <a:lnTo>
                    <a:pt x="235" y="872"/>
                  </a:lnTo>
                  <a:lnTo>
                    <a:pt x="232" y="867"/>
                  </a:lnTo>
                  <a:lnTo>
                    <a:pt x="228" y="864"/>
                  </a:lnTo>
                  <a:lnTo>
                    <a:pt x="228" y="864"/>
                  </a:lnTo>
                  <a:lnTo>
                    <a:pt x="225" y="866"/>
                  </a:lnTo>
                  <a:lnTo>
                    <a:pt x="221" y="868"/>
                  </a:lnTo>
                  <a:lnTo>
                    <a:pt x="216" y="872"/>
                  </a:lnTo>
                  <a:lnTo>
                    <a:pt x="216" y="872"/>
                  </a:lnTo>
                  <a:lnTo>
                    <a:pt x="215" y="876"/>
                  </a:lnTo>
                  <a:lnTo>
                    <a:pt x="213" y="879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06" y="881"/>
                  </a:lnTo>
                  <a:lnTo>
                    <a:pt x="195" y="881"/>
                  </a:lnTo>
                  <a:lnTo>
                    <a:pt x="180" y="880"/>
                  </a:lnTo>
                  <a:lnTo>
                    <a:pt x="180" y="880"/>
                  </a:lnTo>
                  <a:lnTo>
                    <a:pt x="177" y="882"/>
                  </a:lnTo>
                  <a:lnTo>
                    <a:pt x="173" y="885"/>
                  </a:lnTo>
                  <a:lnTo>
                    <a:pt x="168" y="890"/>
                  </a:lnTo>
                  <a:lnTo>
                    <a:pt x="165" y="891"/>
                  </a:lnTo>
                  <a:lnTo>
                    <a:pt x="165" y="891"/>
                  </a:lnTo>
                  <a:lnTo>
                    <a:pt x="158" y="891"/>
                  </a:lnTo>
                  <a:lnTo>
                    <a:pt x="151" y="890"/>
                  </a:lnTo>
                  <a:lnTo>
                    <a:pt x="145" y="890"/>
                  </a:lnTo>
                  <a:lnTo>
                    <a:pt x="141" y="890"/>
                  </a:lnTo>
                  <a:lnTo>
                    <a:pt x="138" y="891"/>
                  </a:lnTo>
                  <a:lnTo>
                    <a:pt x="138" y="891"/>
                  </a:lnTo>
                  <a:lnTo>
                    <a:pt x="137" y="895"/>
                  </a:lnTo>
                  <a:lnTo>
                    <a:pt x="137" y="901"/>
                  </a:lnTo>
                  <a:lnTo>
                    <a:pt x="136" y="906"/>
                  </a:lnTo>
                  <a:lnTo>
                    <a:pt x="134" y="908"/>
                  </a:lnTo>
                  <a:lnTo>
                    <a:pt x="133" y="910"/>
                  </a:lnTo>
                  <a:lnTo>
                    <a:pt x="133" y="910"/>
                  </a:lnTo>
                  <a:lnTo>
                    <a:pt x="130" y="910"/>
                  </a:lnTo>
                  <a:lnTo>
                    <a:pt x="127" y="910"/>
                  </a:lnTo>
                  <a:lnTo>
                    <a:pt x="116" y="906"/>
                  </a:lnTo>
                  <a:lnTo>
                    <a:pt x="105" y="901"/>
                  </a:lnTo>
                  <a:lnTo>
                    <a:pt x="94" y="897"/>
                  </a:lnTo>
                  <a:lnTo>
                    <a:pt x="94" y="897"/>
                  </a:lnTo>
                  <a:lnTo>
                    <a:pt x="81" y="884"/>
                  </a:lnTo>
                  <a:lnTo>
                    <a:pt x="86" y="880"/>
                  </a:lnTo>
                  <a:lnTo>
                    <a:pt x="86" y="850"/>
                  </a:lnTo>
                  <a:lnTo>
                    <a:pt x="86" y="850"/>
                  </a:lnTo>
                  <a:lnTo>
                    <a:pt x="97" y="849"/>
                  </a:lnTo>
                  <a:lnTo>
                    <a:pt x="103" y="850"/>
                  </a:lnTo>
                  <a:lnTo>
                    <a:pt x="107" y="851"/>
                  </a:lnTo>
                  <a:lnTo>
                    <a:pt x="110" y="850"/>
                  </a:lnTo>
                  <a:lnTo>
                    <a:pt x="110" y="850"/>
                  </a:lnTo>
                  <a:lnTo>
                    <a:pt x="106" y="838"/>
                  </a:lnTo>
                  <a:lnTo>
                    <a:pt x="103" y="829"/>
                  </a:lnTo>
                  <a:lnTo>
                    <a:pt x="101" y="820"/>
                  </a:lnTo>
                  <a:lnTo>
                    <a:pt x="98" y="815"/>
                  </a:lnTo>
                  <a:lnTo>
                    <a:pt x="94" y="810"/>
                  </a:lnTo>
                  <a:lnTo>
                    <a:pt x="94" y="810"/>
                  </a:lnTo>
                  <a:lnTo>
                    <a:pt x="94" y="802"/>
                  </a:lnTo>
                  <a:lnTo>
                    <a:pt x="95" y="793"/>
                  </a:lnTo>
                  <a:lnTo>
                    <a:pt x="97" y="783"/>
                  </a:lnTo>
                  <a:lnTo>
                    <a:pt x="97" y="764"/>
                  </a:lnTo>
                  <a:lnTo>
                    <a:pt x="107" y="763"/>
                  </a:lnTo>
                  <a:lnTo>
                    <a:pt x="107" y="749"/>
                  </a:lnTo>
                  <a:lnTo>
                    <a:pt x="107" y="749"/>
                  </a:lnTo>
                  <a:lnTo>
                    <a:pt x="110" y="746"/>
                  </a:lnTo>
                  <a:lnTo>
                    <a:pt x="114" y="742"/>
                  </a:lnTo>
                  <a:lnTo>
                    <a:pt x="114" y="742"/>
                  </a:lnTo>
                  <a:lnTo>
                    <a:pt x="111" y="737"/>
                  </a:lnTo>
                  <a:lnTo>
                    <a:pt x="110" y="733"/>
                  </a:lnTo>
                  <a:lnTo>
                    <a:pt x="110" y="733"/>
                  </a:lnTo>
                  <a:lnTo>
                    <a:pt x="128" y="722"/>
                  </a:lnTo>
                  <a:lnTo>
                    <a:pt x="128" y="722"/>
                  </a:lnTo>
                  <a:lnTo>
                    <a:pt x="125" y="719"/>
                  </a:lnTo>
                  <a:lnTo>
                    <a:pt x="121" y="718"/>
                  </a:lnTo>
                  <a:lnTo>
                    <a:pt x="115" y="717"/>
                  </a:lnTo>
                  <a:lnTo>
                    <a:pt x="108" y="718"/>
                  </a:lnTo>
                  <a:lnTo>
                    <a:pt x="105" y="718"/>
                  </a:lnTo>
                  <a:lnTo>
                    <a:pt x="105" y="718"/>
                  </a:lnTo>
                  <a:lnTo>
                    <a:pt x="98" y="713"/>
                  </a:lnTo>
                  <a:lnTo>
                    <a:pt x="92" y="707"/>
                  </a:lnTo>
                  <a:lnTo>
                    <a:pt x="92" y="707"/>
                  </a:lnTo>
                  <a:lnTo>
                    <a:pt x="89" y="705"/>
                  </a:lnTo>
                  <a:lnTo>
                    <a:pt x="86" y="700"/>
                  </a:lnTo>
                  <a:lnTo>
                    <a:pt x="86" y="697"/>
                  </a:lnTo>
                  <a:lnTo>
                    <a:pt x="89" y="695"/>
                  </a:lnTo>
                  <a:lnTo>
                    <a:pt x="92" y="693"/>
                  </a:lnTo>
                  <a:lnTo>
                    <a:pt x="98" y="692"/>
                  </a:lnTo>
                  <a:lnTo>
                    <a:pt x="98" y="692"/>
                  </a:lnTo>
                  <a:lnTo>
                    <a:pt x="99" y="687"/>
                  </a:lnTo>
                  <a:lnTo>
                    <a:pt x="76" y="685"/>
                  </a:lnTo>
                  <a:lnTo>
                    <a:pt x="76" y="685"/>
                  </a:lnTo>
                  <a:lnTo>
                    <a:pt x="71" y="680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59" y="674"/>
                  </a:lnTo>
                  <a:lnTo>
                    <a:pt x="55" y="671"/>
                  </a:lnTo>
                  <a:lnTo>
                    <a:pt x="55" y="669"/>
                  </a:lnTo>
                  <a:lnTo>
                    <a:pt x="55" y="667"/>
                  </a:lnTo>
                  <a:lnTo>
                    <a:pt x="57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2" y="665"/>
                  </a:lnTo>
                  <a:lnTo>
                    <a:pt x="63" y="662"/>
                  </a:lnTo>
                  <a:lnTo>
                    <a:pt x="63" y="657"/>
                  </a:lnTo>
                  <a:lnTo>
                    <a:pt x="63" y="650"/>
                  </a:lnTo>
                  <a:lnTo>
                    <a:pt x="68" y="645"/>
                  </a:lnTo>
                  <a:lnTo>
                    <a:pt x="95" y="645"/>
                  </a:lnTo>
                  <a:lnTo>
                    <a:pt x="108" y="618"/>
                  </a:lnTo>
                  <a:lnTo>
                    <a:pt x="108" y="618"/>
                  </a:lnTo>
                  <a:lnTo>
                    <a:pt x="108" y="600"/>
                  </a:lnTo>
                  <a:lnTo>
                    <a:pt x="107" y="586"/>
                  </a:lnTo>
                  <a:lnTo>
                    <a:pt x="106" y="580"/>
                  </a:lnTo>
                  <a:lnTo>
                    <a:pt x="103" y="575"/>
                  </a:lnTo>
                  <a:lnTo>
                    <a:pt x="103" y="575"/>
                  </a:lnTo>
                  <a:lnTo>
                    <a:pt x="95" y="577"/>
                  </a:lnTo>
                  <a:lnTo>
                    <a:pt x="79" y="580"/>
                  </a:lnTo>
                  <a:lnTo>
                    <a:pt x="63" y="584"/>
                  </a:lnTo>
                  <a:lnTo>
                    <a:pt x="54" y="586"/>
                  </a:lnTo>
                  <a:lnTo>
                    <a:pt x="54" y="586"/>
                  </a:lnTo>
                  <a:lnTo>
                    <a:pt x="50" y="580"/>
                  </a:lnTo>
                  <a:lnTo>
                    <a:pt x="47" y="577"/>
                  </a:lnTo>
                  <a:lnTo>
                    <a:pt x="45" y="568"/>
                  </a:lnTo>
                  <a:lnTo>
                    <a:pt x="42" y="552"/>
                  </a:lnTo>
                  <a:lnTo>
                    <a:pt x="42" y="552"/>
                  </a:lnTo>
                  <a:lnTo>
                    <a:pt x="46" y="549"/>
                  </a:lnTo>
                  <a:lnTo>
                    <a:pt x="49" y="548"/>
                  </a:lnTo>
                  <a:lnTo>
                    <a:pt x="55" y="548"/>
                  </a:lnTo>
                  <a:lnTo>
                    <a:pt x="60" y="545"/>
                  </a:lnTo>
                  <a:lnTo>
                    <a:pt x="62" y="544"/>
                  </a:lnTo>
                  <a:lnTo>
                    <a:pt x="63" y="542"/>
                  </a:lnTo>
                  <a:lnTo>
                    <a:pt x="63" y="542"/>
                  </a:lnTo>
                  <a:lnTo>
                    <a:pt x="60" y="538"/>
                  </a:lnTo>
                  <a:lnTo>
                    <a:pt x="58" y="534"/>
                  </a:lnTo>
                  <a:lnTo>
                    <a:pt x="55" y="533"/>
                  </a:lnTo>
                  <a:lnTo>
                    <a:pt x="51" y="531"/>
                  </a:lnTo>
                  <a:lnTo>
                    <a:pt x="45" y="530"/>
                  </a:lnTo>
                  <a:lnTo>
                    <a:pt x="42" y="529"/>
                  </a:lnTo>
                  <a:lnTo>
                    <a:pt x="41" y="526"/>
                  </a:lnTo>
                  <a:lnTo>
                    <a:pt x="41" y="526"/>
                  </a:lnTo>
                  <a:lnTo>
                    <a:pt x="37" y="517"/>
                  </a:lnTo>
                  <a:lnTo>
                    <a:pt x="35" y="512"/>
                  </a:lnTo>
                  <a:lnTo>
                    <a:pt x="32" y="508"/>
                  </a:lnTo>
                  <a:lnTo>
                    <a:pt x="28" y="505"/>
                  </a:lnTo>
                  <a:lnTo>
                    <a:pt x="23" y="501"/>
                  </a:lnTo>
                  <a:lnTo>
                    <a:pt x="9" y="496"/>
                  </a:lnTo>
                  <a:lnTo>
                    <a:pt x="9" y="496"/>
                  </a:lnTo>
                  <a:lnTo>
                    <a:pt x="6" y="492"/>
                  </a:lnTo>
                  <a:lnTo>
                    <a:pt x="2" y="487"/>
                  </a:lnTo>
                  <a:lnTo>
                    <a:pt x="0" y="482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0" y="473"/>
                  </a:lnTo>
                  <a:lnTo>
                    <a:pt x="2" y="469"/>
                  </a:lnTo>
                  <a:lnTo>
                    <a:pt x="9" y="461"/>
                  </a:lnTo>
                  <a:lnTo>
                    <a:pt x="15" y="456"/>
                  </a:lnTo>
                  <a:lnTo>
                    <a:pt x="20" y="452"/>
                  </a:lnTo>
                  <a:lnTo>
                    <a:pt x="20" y="452"/>
                  </a:lnTo>
                  <a:lnTo>
                    <a:pt x="23" y="453"/>
                  </a:lnTo>
                  <a:lnTo>
                    <a:pt x="25" y="453"/>
                  </a:lnTo>
                  <a:lnTo>
                    <a:pt x="32" y="451"/>
                  </a:lnTo>
                  <a:lnTo>
                    <a:pt x="40" y="446"/>
                  </a:lnTo>
                  <a:lnTo>
                    <a:pt x="47" y="442"/>
                  </a:lnTo>
                  <a:lnTo>
                    <a:pt x="47" y="442"/>
                  </a:lnTo>
                  <a:lnTo>
                    <a:pt x="51" y="439"/>
                  </a:lnTo>
                  <a:lnTo>
                    <a:pt x="53" y="435"/>
                  </a:lnTo>
                  <a:lnTo>
                    <a:pt x="55" y="431"/>
                  </a:lnTo>
                  <a:lnTo>
                    <a:pt x="58" y="425"/>
                  </a:lnTo>
                  <a:lnTo>
                    <a:pt x="58" y="425"/>
                  </a:lnTo>
                  <a:lnTo>
                    <a:pt x="62" y="417"/>
                  </a:lnTo>
                  <a:lnTo>
                    <a:pt x="62" y="411"/>
                  </a:lnTo>
                  <a:lnTo>
                    <a:pt x="62" y="408"/>
                  </a:lnTo>
                  <a:lnTo>
                    <a:pt x="60" y="406"/>
                  </a:lnTo>
                  <a:lnTo>
                    <a:pt x="60" y="40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8" y="376"/>
                  </a:lnTo>
                  <a:lnTo>
                    <a:pt x="59" y="373"/>
                  </a:lnTo>
                  <a:lnTo>
                    <a:pt x="62" y="371"/>
                  </a:lnTo>
                  <a:lnTo>
                    <a:pt x="67" y="368"/>
                  </a:lnTo>
                  <a:lnTo>
                    <a:pt x="67" y="368"/>
                  </a:lnTo>
                  <a:lnTo>
                    <a:pt x="76" y="360"/>
                  </a:lnTo>
                  <a:lnTo>
                    <a:pt x="82" y="355"/>
                  </a:lnTo>
                  <a:lnTo>
                    <a:pt x="89" y="351"/>
                  </a:lnTo>
                  <a:lnTo>
                    <a:pt x="89" y="351"/>
                  </a:lnTo>
                  <a:lnTo>
                    <a:pt x="94" y="345"/>
                  </a:lnTo>
                  <a:lnTo>
                    <a:pt x="97" y="341"/>
                  </a:lnTo>
                  <a:lnTo>
                    <a:pt x="102" y="337"/>
                  </a:lnTo>
                  <a:lnTo>
                    <a:pt x="102" y="337"/>
                  </a:lnTo>
                  <a:lnTo>
                    <a:pt x="115" y="321"/>
                  </a:lnTo>
                  <a:lnTo>
                    <a:pt x="115" y="321"/>
                  </a:lnTo>
                  <a:lnTo>
                    <a:pt x="117" y="316"/>
                  </a:lnTo>
                  <a:lnTo>
                    <a:pt x="117" y="312"/>
                  </a:lnTo>
                  <a:lnTo>
                    <a:pt x="116" y="311"/>
                  </a:lnTo>
                  <a:lnTo>
                    <a:pt x="115" y="310"/>
                  </a:lnTo>
                  <a:lnTo>
                    <a:pt x="120" y="306"/>
                  </a:lnTo>
                  <a:lnTo>
                    <a:pt x="129" y="314"/>
                  </a:lnTo>
                  <a:lnTo>
                    <a:pt x="129" y="314"/>
                  </a:lnTo>
                  <a:lnTo>
                    <a:pt x="141" y="317"/>
                  </a:lnTo>
                  <a:lnTo>
                    <a:pt x="156" y="321"/>
                  </a:lnTo>
                  <a:lnTo>
                    <a:pt x="156" y="321"/>
                  </a:lnTo>
                  <a:lnTo>
                    <a:pt x="163" y="323"/>
                  </a:lnTo>
                  <a:lnTo>
                    <a:pt x="172" y="325"/>
                  </a:lnTo>
                  <a:lnTo>
                    <a:pt x="182" y="328"/>
                  </a:lnTo>
                  <a:lnTo>
                    <a:pt x="191" y="329"/>
                  </a:lnTo>
                  <a:lnTo>
                    <a:pt x="191" y="329"/>
                  </a:lnTo>
                  <a:lnTo>
                    <a:pt x="202" y="330"/>
                  </a:lnTo>
                  <a:lnTo>
                    <a:pt x="208" y="330"/>
                  </a:lnTo>
                  <a:lnTo>
                    <a:pt x="215" y="330"/>
                  </a:lnTo>
                  <a:lnTo>
                    <a:pt x="215" y="330"/>
                  </a:lnTo>
                  <a:lnTo>
                    <a:pt x="217" y="329"/>
                  </a:lnTo>
                  <a:lnTo>
                    <a:pt x="220" y="326"/>
                  </a:lnTo>
                  <a:lnTo>
                    <a:pt x="226" y="320"/>
                  </a:lnTo>
                  <a:lnTo>
                    <a:pt x="226" y="320"/>
                  </a:lnTo>
                  <a:lnTo>
                    <a:pt x="237" y="298"/>
                  </a:lnTo>
                  <a:lnTo>
                    <a:pt x="241" y="289"/>
                  </a:lnTo>
                  <a:lnTo>
                    <a:pt x="241" y="284"/>
                  </a:lnTo>
                  <a:lnTo>
                    <a:pt x="241" y="284"/>
                  </a:lnTo>
                  <a:lnTo>
                    <a:pt x="241" y="282"/>
                  </a:lnTo>
                  <a:lnTo>
                    <a:pt x="242" y="280"/>
                  </a:lnTo>
                  <a:lnTo>
                    <a:pt x="246" y="275"/>
                  </a:lnTo>
                  <a:lnTo>
                    <a:pt x="246" y="275"/>
                  </a:lnTo>
                  <a:lnTo>
                    <a:pt x="242" y="260"/>
                  </a:lnTo>
                  <a:lnTo>
                    <a:pt x="239" y="253"/>
                  </a:lnTo>
                  <a:lnTo>
                    <a:pt x="238" y="249"/>
                  </a:lnTo>
                  <a:lnTo>
                    <a:pt x="238" y="249"/>
                  </a:lnTo>
                  <a:lnTo>
                    <a:pt x="237" y="249"/>
                  </a:lnTo>
                  <a:lnTo>
                    <a:pt x="234" y="249"/>
                  </a:lnTo>
                  <a:lnTo>
                    <a:pt x="232" y="249"/>
                  </a:lnTo>
                  <a:lnTo>
                    <a:pt x="228" y="247"/>
                  </a:lnTo>
                  <a:lnTo>
                    <a:pt x="228" y="247"/>
                  </a:lnTo>
                  <a:lnTo>
                    <a:pt x="226" y="241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2" y="224"/>
                  </a:lnTo>
                  <a:lnTo>
                    <a:pt x="222" y="220"/>
                  </a:lnTo>
                  <a:lnTo>
                    <a:pt x="224" y="216"/>
                  </a:lnTo>
                  <a:lnTo>
                    <a:pt x="222" y="212"/>
                  </a:lnTo>
                  <a:lnTo>
                    <a:pt x="222" y="212"/>
                  </a:lnTo>
                  <a:lnTo>
                    <a:pt x="221" y="209"/>
                  </a:lnTo>
                  <a:lnTo>
                    <a:pt x="221" y="206"/>
                  </a:lnTo>
                  <a:lnTo>
                    <a:pt x="224" y="203"/>
                  </a:lnTo>
                  <a:lnTo>
                    <a:pt x="224" y="203"/>
                  </a:lnTo>
                  <a:lnTo>
                    <a:pt x="220" y="201"/>
                  </a:lnTo>
                  <a:lnTo>
                    <a:pt x="213" y="198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3" y="190"/>
                  </a:lnTo>
                  <a:lnTo>
                    <a:pt x="202" y="188"/>
                  </a:lnTo>
                  <a:lnTo>
                    <a:pt x="202" y="187"/>
                  </a:lnTo>
                  <a:lnTo>
                    <a:pt x="198" y="185"/>
                  </a:lnTo>
                  <a:lnTo>
                    <a:pt x="198" y="185"/>
                  </a:lnTo>
                  <a:lnTo>
                    <a:pt x="195" y="184"/>
                  </a:lnTo>
                  <a:lnTo>
                    <a:pt x="193" y="183"/>
                  </a:lnTo>
                  <a:lnTo>
                    <a:pt x="191" y="181"/>
                  </a:lnTo>
                  <a:lnTo>
                    <a:pt x="190" y="180"/>
                  </a:lnTo>
                  <a:lnTo>
                    <a:pt x="190" y="180"/>
                  </a:lnTo>
                  <a:lnTo>
                    <a:pt x="182" y="179"/>
                  </a:lnTo>
                  <a:lnTo>
                    <a:pt x="178" y="176"/>
                  </a:lnTo>
                  <a:lnTo>
                    <a:pt x="174" y="174"/>
                  </a:lnTo>
                  <a:lnTo>
                    <a:pt x="174" y="174"/>
                  </a:lnTo>
                  <a:lnTo>
                    <a:pt x="171" y="174"/>
                  </a:lnTo>
                  <a:lnTo>
                    <a:pt x="168" y="174"/>
                  </a:lnTo>
                  <a:lnTo>
                    <a:pt x="165" y="171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2"/>
                  </a:lnTo>
                  <a:lnTo>
                    <a:pt x="155" y="157"/>
                  </a:lnTo>
                  <a:lnTo>
                    <a:pt x="155" y="157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5" y="146"/>
                  </a:lnTo>
                  <a:lnTo>
                    <a:pt x="142" y="145"/>
                  </a:lnTo>
                  <a:lnTo>
                    <a:pt x="138" y="141"/>
                  </a:lnTo>
                  <a:lnTo>
                    <a:pt x="138" y="141"/>
                  </a:lnTo>
                  <a:lnTo>
                    <a:pt x="137" y="137"/>
                  </a:lnTo>
                  <a:lnTo>
                    <a:pt x="137" y="133"/>
                  </a:lnTo>
                  <a:lnTo>
                    <a:pt x="138" y="129"/>
                  </a:lnTo>
                  <a:lnTo>
                    <a:pt x="138" y="129"/>
                  </a:lnTo>
                  <a:lnTo>
                    <a:pt x="142" y="124"/>
                  </a:lnTo>
                  <a:lnTo>
                    <a:pt x="147" y="120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9" y="115"/>
                  </a:lnTo>
                  <a:lnTo>
                    <a:pt x="162" y="113"/>
                  </a:lnTo>
                  <a:lnTo>
                    <a:pt x="163" y="110"/>
                  </a:lnTo>
                  <a:lnTo>
                    <a:pt x="163" y="106"/>
                  </a:lnTo>
                  <a:lnTo>
                    <a:pt x="163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7" y="107"/>
                  </a:lnTo>
                  <a:lnTo>
                    <a:pt x="169" y="109"/>
                  </a:lnTo>
                  <a:lnTo>
                    <a:pt x="172" y="109"/>
                  </a:lnTo>
                  <a:lnTo>
                    <a:pt x="174" y="107"/>
                  </a:lnTo>
                  <a:lnTo>
                    <a:pt x="180" y="106"/>
                  </a:lnTo>
                  <a:lnTo>
                    <a:pt x="187" y="104"/>
                  </a:lnTo>
                  <a:lnTo>
                    <a:pt x="187" y="104"/>
                  </a:lnTo>
                  <a:lnTo>
                    <a:pt x="197" y="97"/>
                  </a:lnTo>
                  <a:lnTo>
                    <a:pt x="197" y="97"/>
                  </a:lnTo>
                  <a:lnTo>
                    <a:pt x="200" y="94"/>
                  </a:lnTo>
                  <a:lnTo>
                    <a:pt x="203" y="91"/>
                  </a:lnTo>
                  <a:lnTo>
                    <a:pt x="206" y="85"/>
                  </a:lnTo>
                  <a:lnTo>
                    <a:pt x="206" y="85"/>
                  </a:lnTo>
                  <a:lnTo>
                    <a:pt x="211" y="85"/>
                  </a:lnTo>
                  <a:lnTo>
                    <a:pt x="215" y="85"/>
                  </a:lnTo>
                  <a:lnTo>
                    <a:pt x="217" y="85"/>
                  </a:lnTo>
                  <a:lnTo>
                    <a:pt x="217" y="85"/>
                  </a:lnTo>
                  <a:lnTo>
                    <a:pt x="216" y="83"/>
                  </a:lnTo>
                  <a:lnTo>
                    <a:pt x="213" y="78"/>
                  </a:lnTo>
                  <a:lnTo>
                    <a:pt x="209" y="71"/>
                  </a:lnTo>
                  <a:lnTo>
                    <a:pt x="209" y="71"/>
                  </a:lnTo>
                  <a:lnTo>
                    <a:pt x="207" y="66"/>
                  </a:lnTo>
                  <a:lnTo>
                    <a:pt x="206" y="62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7" y="58"/>
                  </a:lnTo>
                  <a:lnTo>
                    <a:pt x="209" y="58"/>
                  </a:lnTo>
                  <a:lnTo>
                    <a:pt x="215" y="58"/>
                  </a:lnTo>
                  <a:lnTo>
                    <a:pt x="215" y="58"/>
                  </a:lnTo>
                  <a:lnTo>
                    <a:pt x="220" y="56"/>
                  </a:lnTo>
                  <a:lnTo>
                    <a:pt x="224" y="54"/>
                  </a:lnTo>
                  <a:lnTo>
                    <a:pt x="235" y="54"/>
                  </a:lnTo>
                  <a:lnTo>
                    <a:pt x="235" y="54"/>
                  </a:lnTo>
                  <a:lnTo>
                    <a:pt x="244" y="39"/>
                  </a:lnTo>
                  <a:lnTo>
                    <a:pt x="244" y="39"/>
                  </a:lnTo>
                  <a:lnTo>
                    <a:pt x="244" y="36"/>
                  </a:lnTo>
                  <a:lnTo>
                    <a:pt x="243" y="34"/>
                  </a:lnTo>
                  <a:lnTo>
                    <a:pt x="241" y="28"/>
                  </a:lnTo>
                  <a:lnTo>
                    <a:pt x="241" y="28"/>
                  </a:lnTo>
                  <a:lnTo>
                    <a:pt x="247" y="23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5" y="19"/>
                  </a:lnTo>
                  <a:lnTo>
                    <a:pt x="259" y="15"/>
                  </a:lnTo>
                  <a:lnTo>
                    <a:pt x="260" y="13"/>
                  </a:lnTo>
                  <a:lnTo>
                    <a:pt x="260" y="12"/>
                  </a:lnTo>
                  <a:lnTo>
                    <a:pt x="259" y="9"/>
                  </a:lnTo>
                  <a:lnTo>
                    <a:pt x="256" y="8"/>
                  </a:lnTo>
                  <a:lnTo>
                    <a:pt x="259" y="1"/>
                  </a:lnTo>
                  <a:lnTo>
                    <a:pt x="268" y="0"/>
                  </a:lnTo>
                  <a:lnTo>
                    <a:pt x="268" y="0"/>
                  </a:lnTo>
                  <a:lnTo>
                    <a:pt x="383" y="166"/>
                  </a:lnTo>
                  <a:lnTo>
                    <a:pt x="383" y="166"/>
                  </a:lnTo>
                  <a:lnTo>
                    <a:pt x="386" y="167"/>
                  </a:lnTo>
                  <a:lnTo>
                    <a:pt x="388" y="168"/>
                  </a:lnTo>
                  <a:lnTo>
                    <a:pt x="392" y="167"/>
                  </a:lnTo>
                  <a:lnTo>
                    <a:pt x="393" y="164"/>
                  </a:lnTo>
                  <a:lnTo>
                    <a:pt x="393" y="164"/>
                  </a:lnTo>
                  <a:lnTo>
                    <a:pt x="393" y="161"/>
                  </a:lnTo>
                  <a:lnTo>
                    <a:pt x="390" y="157"/>
                  </a:lnTo>
                  <a:lnTo>
                    <a:pt x="387" y="153"/>
                  </a:lnTo>
                  <a:lnTo>
                    <a:pt x="386" y="149"/>
                  </a:lnTo>
                  <a:lnTo>
                    <a:pt x="386" y="149"/>
                  </a:lnTo>
                  <a:lnTo>
                    <a:pt x="387" y="148"/>
                  </a:lnTo>
                  <a:lnTo>
                    <a:pt x="388" y="146"/>
                  </a:lnTo>
                  <a:lnTo>
                    <a:pt x="393" y="145"/>
                  </a:lnTo>
                  <a:lnTo>
                    <a:pt x="397" y="141"/>
                  </a:lnTo>
                  <a:lnTo>
                    <a:pt x="399" y="140"/>
                  </a:lnTo>
                  <a:lnTo>
                    <a:pt x="399" y="137"/>
                  </a:lnTo>
                  <a:lnTo>
                    <a:pt x="399" y="137"/>
                  </a:lnTo>
                  <a:lnTo>
                    <a:pt x="400" y="135"/>
                  </a:lnTo>
                  <a:lnTo>
                    <a:pt x="403" y="132"/>
                  </a:lnTo>
                  <a:lnTo>
                    <a:pt x="412" y="127"/>
                  </a:lnTo>
                  <a:lnTo>
                    <a:pt x="421" y="122"/>
                  </a:lnTo>
                  <a:lnTo>
                    <a:pt x="425" y="118"/>
                  </a:lnTo>
                  <a:lnTo>
                    <a:pt x="426" y="115"/>
                  </a:lnTo>
                  <a:lnTo>
                    <a:pt x="426" y="115"/>
                  </a:lnTo>
                  <a:lnTo>
                    <a:pt x="426" y="106"/>
                  </a:lnTo>
                  <a:lnTo>
                    <a:pt x="425" y="98"/>
                  </a:lnTo>
                  <a:lnTo>
                    <a:pt x="425" y="98"/>
                  </a:lnTo>
                  <a:lnTo>
                    <a:pt x="423" y="94"/>
                  </a:lnTo>
                  <a:lnTo>
                    <a:pt x="421" y="91"/>
                  </a:lnTo>
                  <a:lnTo>
                    <a:pt x="417" y="87"/>
                  </a:lnTo>
                  <a:lnTo>
                    <a:pt x="417" y="87"/>
                  </a:lnTo>
                  <a:lnTo>
                    <a:pt x="414" y="82"/>
                  </a:lnTo>
                  <a:lnTo>
                    <a:pt x="414" y="76"/>
                  </a:lnTo>
                  <a:lnTo>
                    <a:pt x="417" y="72"/>
                  </a:lnTo>
                  <a:lnTo>
                    <a:pt x="417" y="72"/>
                  </a:lnTo>
                  <a:lnTo>
                    <a:pt x="418" y="71"/>
                  </a:lnTo>
                  <a:lnTo>
                    <a:pt x="421" y="70"/>
                  </a:lnTo>
                  <a:lnTo>
                    <a:pt x="427" y="69"/>
                  </a:lnTo>
                  <a:lnTo>
                    <a:pt x="434" y="67"/>
                  </a:lnTo>
                  <a:lnTo>
                    <a:pt x="435" y="67"/>
                  </a:lnTo>
                  <a:lnTo>
                    <a:pt x="436" y="66"/>
                  </a:lnTo>
                  <a:lnTo>
                    <a:pt x="436" y="66"/>
                  </a:lnTo>
                  <a:lnTo>
                    <a:pt x="435" y="62"/>
                  </a:lnTo>
                  <a:lnTo>
                    <a:pt x="435" y="56"/>
                  </a:lnTo>
                  <a:lnTo>
                    <a:pt x="435" y="49"/>
                  </a:lnTo>
                  <a:lnTo>
                    <a:pt x="436" y="47"/>
                  </a:lnTo>
                  <a:lnTo>
                    <a:pt x="438" y="45"/>
                  </a:lnTo>
                  <a:lnTo>
                    <a:pt x="438" y="45"/>
                  </a:lnTo>
                  <a:lnTo>
                    <a:pt x="445" y="45"/>
                  </a:lnTo>
                  <a:lnTo>
                    <a:pt x="454" y="48"/>
                  </a:lnTo>
                  <a:lnTo>
                    <a:pt x="463" y="50"/>
                  </a:lnTo>
                  <a:lnTo>
                    <a:pt x="466" y="52"/>
                  </a:lnTo>
                  <a:lnTo>
                    <a:pt x="467" y="54"/>
                  </a:lnTo>
                  <a:lnTo>
                    <a:pt x="467" y="54"/>
                  </a:lnTo>
                  <a:lnTo>
                    <a:pt x="470" y="57"/>
                  </a:lnTo>
                  <a:lnTo>
                    <a:pt x="473" y="58"/>
                  </a:lnTo>
                  <a:lnTo>
                    <a:pt x="479" y="61"/>
                  </a:lnTo>
                  <a:lnTo>
                    <a:pt x="485" y="62"/>
                  </a:lnTo>
                  <a:lnTo>
                    <a:pt x="489" y="62"/>
                  </a:lnTo>
                  <a:lnTo>
                    <a:pt x="489" y="62"/>
                  </a:lnTo>
                  <a:lnTo>
                    <a:pt x="491" y="61"/>
                  </a:lnTo>
                  <a:lnTo>
                    <a:pt x="492" y="58"/>
                  </a:lnTo>
                  <a:lnTo>
                    <a:pt x="493" y="56"/>
                  </a:lnTo>
                  <a:lnTo>
                    <a:pt x="495" y="54"/>
                  </a:lnTo>
                  <a:lnTo>
                    <a:pt x="495" y="54"/>
                  </a:lnTo>
                  <a:lnTo>
                    <a:pt x="497" y="56"/>
                  </a:lnTo>
                  <a:lnTo>
                    <a:pt x="500" y="60"/>
                  </a:lnTo>
                  <a:lnTo>
                    <a:pt x="504" y="66"/>
                  </a:lnTo>
                  <a:lnTo>
                    <a:pt x="504" y="69"/>
                  </a:lnTo>
                  <a:lnTo>
                    <a:pt x="504" y="71"/>
                  </a:lnTo>
                  <a:lnTo>
                    <a:pt x="504" y="71"/>
                  </a:lnTo>
                  <a:lnTo>
                    <a:pt x="501" y="80"/>
                  </a:lnTo>
                  <a:lnTo>
                    <a:pt x="496" y="91"/>
                  </a:lnTo>
                  <a:lnTo>
                    <a:pt x="493" y="96"/>
                  </a:lnTo>
                  <a:lnTo>
                    <a:pt x="493" y="100"/>
                  </a:lnTo>
                  <a:lnTo>
                    <a:pt x="493" y="104"/>
                  </a:lnTo>
                  <a:lnTo>
                    <a:pt x="496" y="105"/>
                  </a:lnTo>
                  <a:lnTo>
                    <a:pt x="496" y="105"/>
                  </a:lnTo>
                  <a:lnTo>
                    <a:pt x="502" y="106"/>
                  </a:lnTo>
                  <a:lnTo>
                    <a:pt x="508" y="106"/>
                  </a:lnTo>
                  <a:lnTo>
                    <a:pt x="513" y="105"/>
                  </a:lnTo>
                  <a:lnTo>
                    <a:pt x="515" y="105"/>
                  </a:lnTo>
                  <a:lnTo>
                    <a:pt x="515" y="105"/>
                  </a:lnTo>
                  <a:lnTo>
                    <a:pt x="518" y="101"/>
                  </a:lnTo>
                  <a:lnTo>
                    <a:pt x="523" y="97"/>
                  </a:lnTo>
                  <a:lnTo>
                    <a:pt x="526" y="96"/>
                  </a:lnTo>
                  <a:lnTo>
                    <a:pt x="530" y="94"/>
                  </a:lnTo>
                  <a:lnTo>
                    <a:pt x="532" y="96"/>
                  </a:lnTo>
                  <a:lnTo>
                    <a:pt x="535" y="97"/>
                  </a:lnTo>
                  <a:lnTo>
                    <a:pt x="535" y="97"/>
                  </a:lnTo>
                  <a:lnTo>
                    <a:pt x="537" y="101"/>
                  </a:lnTo>
                  <a:lnTo>
                    <a:pt x="540" y="105"/>
                  </a:lnTo>
                  <a:lnTo>
                    <a:pt x="543" y="114"/>
                  </a:lnTo>
                  <a:lnTo>
                    <a:pt x="546" y="123"/>
                  </a:lnTo>
                  <a:lnTo>
                    <a:pt x="552" y="132"/>
                  </a:lnTo>
                  <a:lnTo>
                    <a:pt x="552" y="132"/>
                  </a:lnTo>
                  <a:lnTo>
                    <a:pt x="554" y="133"/>
                  </a:lnTo>
                  <a:lnTo>
                    <a:pt x="558" y="133"/>
                  </a:lnTo>
                  <a:lnTo>
                    <a:pt x="566" y="133"/>
                  </a:lnTo>
                  <a:lnTo>
                    <a:pt x="566" y="133"/>
                  </a:lnTo>
                  <a:lnTo>
                    <a:pt x="585" y="126"/>
                  </a:lnTo>
                  <a:lnTo>
                    <a:pt x="605" y="117"/>
                  </a:lnTo>
                  <a:lnTo>
                    <a:pt x="605" y="117"/>
                  </a:lnTo>
                  <a:lnTo>
                    <a:pt x="619" y="118"/>
                  </a:lnTo>
                  <a:lnTo>
                    <a:pt x="637" y="122"/>
                  </a:lnTo>
                  <a:lnTo>
                    <a:pt x="637" y="122"/>
                  </a:lnTo>
                  <a:lnTo>
                    <a:pt x="641" y="120"/>
                  </a:lnTo>
                  <a:lnTo>
                    <a:pt x="644" y="118"/>
                  </a:lnTo>
                  <a:lnTo>
                    <a:pt x="646" y="115"/>
                  </a:lnTo>
                  <a:lnTo>
                    <a:pt x="653" y="111"/>
                  </a:lnTo>
                  <a:lnTo>
                    <a:pt x="653" y="111"/>
                  </a:lnTo>
                  <a:lnTo>
                    <a:pt x="655" y="110"/>
                  </a:lnTo>
                  <a:lnTo>
                    <a:pt x="658" y="110"/>
                  </a:lnTo>
                  <a:lnTo>
                    <a:pt x="666" y="111"/>
                  </a:lnTo>
                  <a:lnTo>
                    <a:pt x="673" y="111"/>
                  </a:lnTo>
                  <a:lnTo>
                    <a:pt x="676" y="111"/>
                  </a:lnTo>
                  <a:lnTo>
                    <a:pt x="677" y="111"/>
                  </a:lnTo>
                  <a:lnTo>
                    <a:pt x="677" y="111"/>
                  </a:lnTo>
                  <a:lnTo>
                    <a:pt x="688" y="101"/>
                  </a:lnTo>
                  <a:lnTo>
                    <a:pt x="693" y="94"/>
                  </a:lnTo>
                  <a:lnTo>
                    <a:pt x="695" y="89"/>
                  </a:lnTo>
                  <a:lnTo>
                    <a:pt x="695" y="89"/>
                  </a:lnTo>
                  <a:lnTo>
                    <a:pt x="694" y="84"/>
                  </a:lnTo>
                  <a:lnTo>
                    <a:pt x="693" y="79"/>
                  </a:lnTo>
                  <a:lnTo>
                    <a:pt x="693" y="75"/>
                  </a:lnTo>
                  <a:lnTo>
                    <a:pt x="694" y="72"/>
                  </a:lnTo>
                  <a:lnTo>
                    <a:pt x="697" y="71"/>
                  </a:lnTo>
                  <a:lnTo>
                    <a:pt x="699" y="70"/>
                  </a:lnTo>
                  <a:lnTo>
                    <a:pt x="699" y="70"/>
                  </a:lnTo>
                  <a:lnTo>
                    <a:pt x="703" y="70"/>
                  </a:lnTo>
                  <a:lnTo>
                    <a:pt x="707" y="71"/>
                  </a:lnTo>
                  <a:lnTo>
                    <a:pt x="715" y="74"/>
                  </a:lnTo>
                  <a:lnTo>
                    <a:pt x="719" y="75"/>
                  </a:lnTo>
                  <a:lnTo>
                    <a:pt x="721" y="75"/>
                  </a:lnTo>
                  <a:lnTo>
                    <a:pt x="724" y="74"/>
                  </a:lnTo>
                  <a:lnTo>
                    <a:pt x="727" y="70"/>
                  </a:lnTo>
                  <a:lnTo>
                    <a:pt x="727" y="70"/>
                  </a:lnTo>
                  <a:lnTo>
                    <a:pt x="729" y="66"/>
                  </a:lnTo>
                  <a:lnTo>
                    <a:pt x="732" y="62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2"/>
                  </a:lnTo>
                  <a:lnTo>
                    <a:pt x="739" y="49"/>
                  </a:lnTo>
                  <a:lnTo>
                    <a:pt x="742" y="48"/>
                  </a:lnTo>
                  <a:lnTo>
                    <a:pt x="745" y="47"/>
                  </a:lnTo>
                  <a:lnTo>
                    <a:pt x="745" y="47"/>
                  </a:lnTo>
                  <a:lnTo>
                    <a:pt x="752" y="45"/>
                  </a:lnTo>
                  <a:lnTo>
                    <a:pt x="760" y="44"/>
                  </a:lnTo>
                  <a:lnTo>
                    <a:pt x="773" y="40"/>
                  </a:lnTo>
                  <a:lnTo>
                    <a:pt x="773" y="40"/>
                  </a:lnTo>
                  <a:lnTo>
                    <a:pt x="777" y="41"/>
                  </a:lnTo>
                  <a:lnTo>
                    <a:pt x="782" y="43"/>
                  </a:lnTo>
                  <a:lnTo>
                    <a:pt x="799" y="48"/>
                  </a:lnTo>
                  <a:lnTo>
                    <a:pt x="816" y="54"/>
                  </a:lnTo>
                  <a:lnTo>
                    <a:pt x="825" y="57"/>
                  </a:lnTo>
                  <a:lnTo>
                    <a:pt x="825" y="57"/>
                  </a:lnTo>
                  <a:lnTo>
                    <a:pt x="829" y="58"/>
                  </a:lnTo>
                  <a:lnTo>
                    <a:pt x="835" y="61"/>
                  </a:lnTo>
                  <a:lnTo>
                    <a:pt x="841" y="63"/>
                  </a:lnTo>
                  <a:lnTo>
                    <a:pt x="844" y="65"/>
                  </a:lnTo>
                  <a:lnTo>
                    <a:pt x="844" y="65"/>
                  </a:lnTo>
                  <a:lnTo>
                    <a:pt x="846" y="69"/>
                  </a:lnTo>
                  <a:lnTo>
                    <a:pt x="847" y="72"/>
                  </a:lnTo>
                  <a:lnTo>
                    <a:pt x="848" y="78"/>
                  </a:lnTo>
                  <a:lnTo>
                    <a:pt x="848" y="78"/>
                  </a:lnTo>
                  <a:lnTo>
                    <a:pt x="864" y="91"/>
                  </a:lnTo>
                  <a:lnTo>
                    <a:pt x="864" y="91"/>
                  </a:lnTo>
                  <a:lnTo>
                    <a:pt x="882" y="102"/>
                  </a:lnTo>
                  <a:lnTo>
                    <a:pt x="887" y="107"/>
                  </a:lnTo>
                  <a:lnTo>
                    <a:pt x="890" y="114"/>
                  </a:lnTo>
                  <a:lnTo>
                    <a:pt x="890" y="114"/>
                  </a:lnTo>
                  <a:lnTo>
                    <a:pt x="890" y="119"/>
                  </a:lnTo>
                  <a:lnTo>
                    <a:pt x="891" y="123"/>
                  </a:lnTo>
                  <a:lnTo>
                    <a:pt x="892" y="127"/>
                  </a:lnTo>
                  <a:lnTo>
                    <a:pt x="898" y="133"/>
                  </a:lnTo>
                  <a:lnTo>
                    <a:pt x="898" y="133"/>
                  </a:lnTo>
                  <a:lnTo>
                    <a:pt x="900" y="141"/>
                  </a:lnTo>
                  <a:lnTo>
                    <a:pt x="900" y="145"/>
                  </a:lnTo>
                  <a:lnTo>
                    <a:pt x="899" y="149"/>
                  </a:lnTo>
                  <a:lnTo>
                    <a:pt x="900" y="152"/>
                  </a:lnTo>
                  <a:lnTo>
                    <a:pt x="900" y="152"/>
                  </a:lnTo>
                  <a:lnTo>
                    <a:pt x="904" y="155"/>
                  </a:lnTo>
                  <a:lnTo>
                    <a:pt x="911" y="159"/>
                  </a:lnTo>
                  <a:lnTo>
                    <a:pt x="918" y="162"/>
                  </a:lnTo>
                  <a:lnTo>
                    <a:pt x="922" y="163"/>
                  </a:lnTo>
                  <a:lnTo>
                    <a:pt x="922" y="163"/>
                  </a:lnTo>
                  <a:lnTo>
                    <a:pt x="923" y="161"/>
                  </a:lnTo>
                  <a:lnTo>
                    <a:pt x="923" y="159"/>
                  </a:lnTo>
                  <a:lnTo>
                    <a:pt x="923" y="157"/>
                  </a:lnTo>
                  <a:lnTo>
                    <a:pt x="925" y="155"/>
                  </a:lnTo>
                  <a:lnTo>
                    <a:pt x="925" y="155"/>
                  </a:lnTo>
                  <a:lnTo>
                    <a:pt x="929" y="155"/>
                  </a:lnTo>
                  <a:lnTo>
                    <a:pt x="933" y="158"/>
                  </a:lnTo>
                  <a:lnTo>
                    <a:pt x="938" y="159"/>
                  </a:lnTo>
                  <a:lnTo>
                    <a:pt x="942" y="158"/>
                  </a:lnTo>
                  <a:lnTo>
                    <a:pt x="944" y="157"/>
                  </a:lnTo>
                  <a:lnTo>
                    <a:pt x="944" y="157"/>
                  </a:lnTo>
                  <a:lnTo>
                    <a:pt x="948" y="155"/>
                  </a:lnTo>
                  <a:lnTo>
                    <a:pt x="952" y="157"/>
                  </a:lnTo>
                  <a:lnTo>
                    <a:pt x="964" y="163"/>
                  </a:lnTo>
                  <a:lnTo>
                    <a:pt x="974" y="168"/>
                  </a:lnTo>
                  <a:lnTo>
                    <a:pt x="977" y="171"/>
                  </a:lnTo>
                  <a:lnTo>
                    <a:pt x="979" y="170"/>
                  </a:lnTo>
                  <a:lnTo>
                    <a:pt x="979" y="170"/>
                  </a:lnTo>
                  <a:lnTo>
                    <a:pt x="982" y="170"/>
                  </a:lnTo>
                  <a:lnTo>
                    <a:pt x="984" y="170"/>
                  </a:lnTo>
                  <a:lnTo>
                    <a:pt x="991" y="171"/>
                  </a:lnTo>
                  <a:lnTo>
                    <a:pt x="999" y="174"/>
                  </a:lnTo>
                  <a:lnTo>
                    <a:pt x="999" y="174"/>
                  </a:lnTo>
                  <a:lnTo>
                    <a:pt x="1003" y="177"/>
                  </a:lnTo>
                  <a:lnTo>
                    <a:pt x="1005" y="180"/>
                  </a:lnTo>
                  <a:lnTo>
                    <a:pt x="1005" y="183"/>
                  </a:lnTo>
                  <a:lnTo>
                    <a:pt x="1005" y="183"/>
                  </a:lnTo>
                  <a:lnTo>
                    <a:pt x="1003" y="183"/>
                  </a:lnTo>
                  <a:lnTo>
                    <a:pt x="1000" y="184"/>
                  </a:lnTo>
                  <a:lnTo>
                    <a:pt x="999" y="184"/>
                  </a:lnTo>
                  <a:lnTo>
                    <a:pt x="997" y="187"/>
                  </a:lnTo>
                  <a:lnTo>
                    <a:pt x="997" y="187"/>
                  </a:lnTo>
                  <a:lnTo>
                    <a:pt x="999" y="193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3" y="206"/>
                  </a:lnTo>
                  <a:lnTo>
                    <a:pt x="1014" y="207"/>
                  </a:lnTo>
                  <a:lnTo>
                    <a:pt x="1017" y="207"/>
                  </a:lnTo>
                  <a:lnTo>
                    <a:pt x="1017" y="207"/>
                  </a:lnTo>
                  <a:lnTo>
                    <a:pt x="1027" y="218"/>
                  </a:lnTo>
                  <a:lnTo>
                    <a:pt x="1032" y="224"/>
                  </a:lnTo>
                  <a:lnTo>
                    <a:pt x="1038" y="227"/>
                  </a:lnTo>
                  <a:lnTo>
                    <a:pt x="1038" y="227"/>
                  </a:lnTo>
                  <a:lnTo>
                    <a:pt x="1040" y="237"/>
                  </a:lnTo>
                  <a:lnTo>
                    <a:pt x="1041" y="244"/>
                  </a:lnTo>
                  <a:lnTo>
                    <a:pt x="1041" y="244"/>
                  </a:lnTo>
                  <a:lnTo>
                    <a:pt x="1043" y="246"/>
                  </a:lnTo>
                  <a:lnTo>
                    <a:pt x="1045" y="247"/>
                  </a:lnTo>
                  <a:lnTo>
                    <a:pt x="1048" y="250"/>
                  </a:lnTo>
                  <a:lnTo>
                    <a:pt x="1048" y="250"/>
                  </a:lnTo>
                  <a:lnTo>
                    <a:pt x="1056" y="249"/>
                  </a:lnTo>
                  <a:lnTo>
                    <a:pt x="1071" y="246"/>
                  </a:lnTo>
                  <a:lnTo>
                    <a:pt x="1087" y="244"/>
                  </a:lnTo>
                  <a:lnTo>
                    <a:pt x="1093" y="242"/>
                  </a:lnTo>
                  <a:lnTo>
                    <a:pt x="1100" y="244"/>
                  </a:lnTo>
                  <a:lnTo>
                    <a:pt x="1100" y="244"/>
                  </a:lnTo>
                  <a:lnTo>
                    <a:pt x="1106" y="244"/>
                  </a:lnTo>
                  <a:lnTo>
                    <a:pt x="1115" y="242"/>
                  </a:lnTo>
                  <a:lnTo>
                    <a:pt x="1128" y="241"/>
                  </a:lnTo>
                  <a:lnTo>
                    <a:pt x="1128" y="241"/>
                  </a:lnTo>
                  <a:lnTo>
                    <a:pt x="1137" y="245"/>
                  </a:lnTo>
                  <a:lnTo>
                    <a:pt x="1144" y="246"/>
                  </a:lnTo>
                  <a:lnTo>
                    <a:pt x="1146" y="245"/>
                  </a:lnTo>
                  <a:lnTo>
                    <a:pt x="1148" y="244"/>
                  </a:lnTo>
                  <a:lnTo>
                    <a:pt x="1148" y="244"/>
                  </a:lnTo>
                  <a:lnTo>
                    <a:pt x="1150" y="242"/>
                  </a:lnTo>
                  <a:lnTo>
                    <a:pt x="1152" y="241"/>
                  </a:lnTo>
                  <a:lnTo>
                    <a:pt x="1158" y="240"/>
                  </a:lnTo>
                  <a:lnTo>
                    <a:pt x="1166" y="240"/>
                  </a:lnTo>
                  <a:lnTo>
                    <a:pt x="1168" y="238"/>
                  </a:lnTo>
                  <a:lnTo>
                    <a:pt x="1172" y="237"/>
                  </a:lnTo>
                  <a:lnTo>
                    <a:pt x="1172" y="237"/>
                  </a:lnTo>
                  <a:lnTo>
                    <a:pt x="1179" y="221"/>
                  </a:lnTo>
                  <a:lnTo>
                    <a:pt x="1189" y="212"/>
                  </a:lnTo>
                  <a:lnTo>
                    <a:pt x="1190" y="206"/>
                  </a:lnTo>
                  <a:lnTo>
                    <a:pt x="1190" y="206"/>
                  </a:lnTo>
                  <a:lnTo>
                    <a:pt x="1201" y="188"/>
                  </a:lnTo>
                  <a:lnTo>
                    <a:pt x="1201" y="188"/>
                  </a:lnTo>
                  <a:lnTo>
                    <a:pt x="1202" y="183"/>
                  </a:lnTo>
                  <a:lnTo>
                    <a:pt x="1202" y="179"/>
                  </a:lnTo>
                  <a:lnTo>
                    <a:pt x="1202" y="174"/>
                  </a:lnTo>
                  <a:lnTo>
                    <a:pt x="1202" y="174"/>
                  </a:lnTo>
                  <a:lnTo>
                    <a:pt x="1212" y="172"/>
                  </a:lnTo>
                  <a:lnTo>
                    <a:pt x="1223" y="172"/>
                  </a:lnTo>
                  <a:lnTo>
                    <a:pt x="1223" y="172"/>
                  </a:lnTo>
                  <a:lnTo>
                    <a:pt x="1224" y="181"/>
                  </a:lnTo>
                  <a:lnTo>
                    <a:pt x="1225" y="187"/>
                  </a:lnTo>
                  <a:lnTo>
                    <a:pt x="1225" y="190"/>
                  </a:lnTo>
                  <a:lnTo>
                    <a:pt x="1225" y="190"/>
                  </a:lnTo>
                  <a:lnTo>
                    <a:pt x="1223" y="194"/>
                  </a:lnTo>
                  <a:lnTo>
                    <a:pt x="1218" y="198"/>
                  </a:lnTo>
                  <a:lnTo>
                    <a:pt x="1212" y="203"/>
                  </a:lnTo>
                  <a:lnTo>
                    <a:pt x="1210" y="207"/>
                  </a:lnTo>
                  <a:lnTo>
                    <a:pt x="1210" y="207"/>
                  </a:lnTo>
                  <a:lnTo>
                    <a:pt x="1210" y="211"/>
                  </a:lnTo>
                  <a:lnTo>
                    <a:pt x="1211" y="215"/>
                  </a:lnTo>
                  <a:lnTo>
                    <a:pt x="1212" y="216"/>
                  </a:lnTo>
                  <a:lnTo>
                    <a:pt x="1215" y="218"/>
                  </a:lnTo>
                  <a:lnTo>
                    <a:pt x="1218" y="219"/>
                  </a:lnTo>
                  <a:lnTo>
                    <a:pt x="1220" y="219"/>
                  </a:lnTo>
                  <a:lnTo>
                    <a:pt x="1220" y="219"/>
                  </a:lnTo>
                  <a:lnTo>
                    <a:pt x="1227" y="216"/>
                  </a:lnTo>
                  <a:lnTo>
                    <a:pt x="1229" y="215"/>
                  </a:lnTo>
                  <a:lnTo>
                    <a:pt x="1232" y="214"/>
                  </a:lnTo>
                  <a:lnTo>
                    <a:pt x="1237" y="215"/>
                  </a:lnTo>
                  <a:lnTo>
                    <a:pt x="1237" y="215"/>
                  </a:lnTo>
                  <a:lnTo>
                    <a:pt x="1241" y="218"/>
                  </a:lnTo>
                  <a:lnTo>
                    <a:pt x="1241" y="218"/>
                  </a:lnTo>
                  <a:lnTo>
                    <a:pt x="1241" y="225"/>
                  </a:lnTo>
                  <a:lnTo>
                    <a:pt x="1241" y="225"/>
                  </a:lnTo>
                  <a:lnTo>
                    <a:pt x="1242" y="228"/>
                  </a:lnTo>
                  <a:lnTo>
                    <a:pt x="1245" y="231"/>
                  </a:lnTo>
                  <a:lnTo>
                    <a:pt x="1251" y="234"/>
                  </a:lnTo>
                  <a:lnTo>
                    <a:pt x="1258" y="237"/>
                  </a:lnTo>
                  <a:lnTo>
                    <a:pt x="1259" y="240"/>
                  </a:lnTo>
                  <a:lnTo>
                    <a:pt x="1259" y="244"/>
                  </a:lnTo>
                  <a:lnTo>
                    <a:pt x="1259" y="244"/>
                  </a:lnTo>
                  <a:lnTo>
                    <a:pt x="1260" y="246"/>
                  </a:lnTo>
                  <a:lnTo>
                    <a:pt x="1262" y="249"/>
                  </a:lnTo>
                  <a:lnTo>
                    <a:pt x="1264" y="250"/>
                  </a:lnTo>
                  <a:lnTo>
                    <a:pt x="1277" y="260"/>
                  </a:lnTo>
                  <a:lnTo>
                    <a:pt x="1277" y="260"/>
                  </a:lnTo>
                  <a:lnTo>
                    <a:pt x="1294" y="260"/>
                  </a:lnTo>
                  <a:lnTo>
                    <a:pt x="1294" y="260"/>
                  </a:lnTo>
                  <a:lnTo>
                    <a:pt x="1302" y="260"/>
                  </a:lnTo>
                  <a:lnTo>
                    <a:pt x="1303" y="260"/>
                  </a:lnTo>
                  <a:lnTo>
                    <a:pt x="1303" y="260"/>
                  </a:lnTo>
                  <a:lnTo>
                    <a:pt x="1308" y="258"/>
                  </a:lnTo>
                  <a:lnTo>
                    <a:pt x="1311" y="256"/>
                  </a:lnTo>
                  <a:lnTo>
                    <a:pt x="1312" y="256"/>
                  </a:lnTo>
                  <a:lnTo>
                    <a:pt x="1314" y="258"/>
                  </a:lnTo>
                  <a:lnTo>
                    <a:pt x="1314" y="258"/>
                  </a:lnTo>
                  <a:lnTo>
                    <a:pt x="1315" y="263"/>
                  </a:lnTo>
                  <a:lnTo>
                    <a:pt x="1315" y="267"/>
                  </a:lnTo>
                  <a:lnTo>
                    <a:pt x="1314" y="273"/>
                  </a:lnTo>
                  <a:lnTo>
                    <a:pt x="1314" y="273"/>
                  </a:lnTo>
                  <a:lnTo>
                    <a:pt x="1312" y="276"/>
                  </a:lnTo>
                  <a:lnTo>
                    <a:pt x="1311" y="279"/>
                  </a:lnTo>
                  <a:lnTo>
                    <a:pt x="1310" y="280"/>
                  </a:lnTo>
                  <a:lnTo>
                    <a:pt x="1310" y="280"/>
                  </a:lnTo>
                  <a:lnTo>
                    <a:pt x="1306" y="279"/>
                  </a:lnTo>
                  <a:lnTo>
                    <a:pt x="1303" y="276"/>
                  </a:lnTo>
                  <a:lnTo>
                    <a:pt x="1298" y="276"/>
                  </a:lnTo>
                  <a:lnTo>
                    <a:pt x="1295" y="277"/>
                  </a:lnTo>
                  <a:lnTo>
                    <a:pt x="1293" y="280"/>
                  </a:lnTo>
                  <a:lnTo>
                    <a:pt x="1293" y="280"/>
                  </a:lnTo>
                  <a:lnTo>
                    <a:pt x="1290" y="281"/>
                  </a:lnTo>
                  <a:lnTo>
                    <a:pt x="1288" y="282"/>
                  </a:lnTo>
                  <a:lnTo>
                    <a:pt x="1281" y="284"/>
                  </a:lnTo>
                  <a:lnTo>
                    <a:pt x="1273" y="285"/>
                  </a:lnTo>
                  <a:lnTo>
                    <a:pt x="1268" y="288"/>
                  </a:lnTo>
                  <a:lnTo>
                    <a:pt x="1268" y="288"/>
                  </a:lnTo>
                  <a:lnTo>
                    <a:pt x="1266" y="289"/>
                  </a:lnTo>
                  <a:lnTo>
                    <a:pt x="1266" y="291"/>
                  </a:lnTo>
                  <a:lnTo>
                    <a:pt x="1264" y="297"/>
                  </a:lnTo>
                  <a:lnTo>
                    <a:pt x="1266" y="304"/>
                  </a:lnTo>
                  <a:lnTo>
                    <a:pt x="1266" y="304"/>
                  </a:lnTo>
                  <a:lnTo>
                    <a:pt x="1263" y="306"/>
                  </a:lnTo>
                  <a:lnTo>
                    <a:pt x="1260" y="310"/>
                  </a:lnTo>
                  <a:lnTo>
                    <a:pt x="1258" y="314"/>
                  </a:lnTo>
                  <a:lnTo>
                    <a:pt x="1257" y="317"/>
                  </a:lnTo>
                  <a:lnTo>
                    <a:pt x="1257" y="321"/>
                  </a:lnTo>
                  <a:lnTo>
                    <a:pt x="1258" y="326"/>
                  </a:lnTo>
                  <a:lnTo>
                    <a:pt x="1258" y="326"/>
                  </a:lnTo>
                  <a:lnTo>
                    <a:pt x="1260" y="330"/>
                  </a:lnTo>
                  <a:lnTo>
                    <a:pt x="1263" y="334"/>
                  </a:lnTo>
                  <a:lnTo>
                    <a:pt x="1268" y="338"/>
                  </a:lnTo>
                  <a:lnTo>
                    <a:pt x="1272" y="341"/>
                  </a:lnTo>
                  <a:lnTo>
                    <a:pt x="1273" y="342"/>
                  </a:lnTo>
                  <a:lnTo>
                    <a:pt x="1275" y="343"/>
                  </a:lnTo>
                  <a:lnTo>
                    <a:pt x="1275" y="343"/>
                  </a:lnTo>
                  <a:lnTo>
                    <a:pt x="1273" y="347"/>
                  </a:lnTo>
                  <a:lnTo>
                    <a:pt x="1272" y="350"/>
                  </a:lnTo>
                  <a:lnTo>
                    <a:pt x="1271" y="352"/>
                  </a:lnTo>
                  <a:lnTo>
                    <a:pt x="1269" y="355"/>
                  </a:lnTo>
                  <a:lnTo>
                    <a:pt x="1269" y="355"/>
                  </a:lnTo>
                  <a:lnTo>
                    <a:pt x="1269" y="359"/>
                  </a:lnTo>
                  <a:lnTo>
                    <a:pt x="1272" y="361"/>
                  </a:lnTo>
                  <a:lnTo>
                    <a:pt x="1275" y="364"/>
                  </a:lnTo>
                  <a:lnTo>
                    <a:pt x="1275" y="364"/>
                  </a:lnTo>
                  <a:lnTo>
                    <a:pt x="1272" y="373"/>
                  </a:lnTo>
                  <a:lnTo>
                    <a:pt x="1271" y="378"/>
                  </a:lnTo>
                  <a:lnTo>
                    <a:pt x="1269" y="381"/>
                  </a:lnTo>
                  <a:lnTo>
                    <a:pt x="1267" y="381"/>
                  </a:lnTo>
                  <a:lnTo>
                    <a:pt x="1267" y="381"/>
                  </a:lnTo>
                  <a:lnTo>
                    <a:pt x="1264" y="383"/>
                  </a:lnTo>
                  <a:lnTo>
                    <a:pt x="1260" y="386"/>
                  </a:lnTo>
                  <a:lnTo>
                    <a:pt x="1258" y="391"/>
                  </a:lnTo>
                  <a:lnTo>
                    <a:pt x="1258" y="391"/>
                  </a:lnTo>
                  <a:lnTo>
                    <a:pt x="1259" y="399"/>
                  </a:lnTo>
                  <a:lnTo>
                    <a:pt x="1259" y="404"/>
                  </a:lnTo>
                  <a:lnTo>
                    <a:pt x="1258" y="409"/>
                  </a:lnTo>
                  <a:lnTo>
                    <a:pt x="1258" y="409"/>
                  </a:lnTo>
                  <a:lnTo>
                    <a:pt x="1255" y="411"/>
                  </a:lnTo>
                  <a:lnTo>
                    <a:pt x="1254" y="412"/>
                  </a:lnTo>
                  <a:lnTo>
                    <a:pt x="1250" y="417"/>
                  </a:lnTo>
                  <a:lnTo>
                    <a:pt x="1246" y="421"/>
                  </a:lnTo>
                  <a:lnTo>
                    <a:pt x="1244" y="422"/>
                  </a:lnTo>
                  <a:lnTo>
                    <a:pt x="1241" y="422"/>
                  </a:lnTo>
                  <a:lnTo>
                    <a:pt x="1241" y="422"/>
                  </a:lnTo>
                  <a:lnTo>
                    <a:pt x="1234" y="422"/>
                  </a:lnTo>
                  <a:lnTo>
                    <a:pt x="1229" y="424"/>
                  </a:lnTo>
                  <a:lnTo>
                    <a:pt x="1224" y="426"/>
                  </a:lnTo>
                  <a:lnTo>
                    <a:pt x="1224" y="437"/>
                  </a:lnTo>
                  <a:lnTo>
                    <a:pt x="1224" y="437"/>
                  </a:lnTo>
                  <a:lnTo>
                    <a:pt x="1223" y="438"/>
                  </a:lnTo>
                  <a:lnTo>
                    <a:pt x="1220" y="439"/>
                  </a:lnTo>
                  <a:lnTo>
                    <a:pt x="1215" y="439"/>
                  </a:lnTo>
                  <a:lnTo>
                    <a:pt x="1215" y="439"/>
                  </a:lnTo>
                  <a:lnTo>
                    <a:pt x="1209" y="439"/>
                  </a:lnTo>
                  <a:lnTo>
                    <a:pt x="1201" y="442"/>
                  </a:lnTo>
                  <a:lnTo>
                    <a:pt x="1193" y="446"/>
                  </a:lnTo>
                  <a:lnTo>
                    <a:pt x="1187" y="447"/>
                  </a:lnTo>
                  <a:lnTo>
                    <a:pt x="1187" y="447"/>
                  </a:lnTo>
                  <a:lnTo>
                    <a:pt x="1179" y="448"/>
                  </a:lnTo>
                  <a:lnTo>
                    <a:pt x="1174" y="451"/>
                  </a:lnTo>
                  <a:lnTo>
                    <a:pt x="1167" y="455"/>
                  </a:lnTo>
                  <a:lnTo>
                    <a:pt x="1162" y="469"/>
                  </a:lnTo>
                  <a:lnTo>
                    <a:pt x="1162" y="469"/>
                  </a:lnTo>
                  <a:lnTo>
                    <a:pt x="1161" y="481"/>
                  </a:lnTo>
                  <a:lnTo>
                    <a:pt x="1159" y="491"/>
                  </a:lnTo>
                  <a:lnTo>
                    <a:pt x="1158" y="498"/>
                  </a:lnTo>
                  <a:lnTo>
                    <a:pt x="1158" y="498"/>
                  </a:lnTo>
                  <a:lnTo>
                    <a:pt x="1155" y="501"/>
                  </a:lnTo>
                  <a:lnTo>
                    <a:pt x="1154" y="508"/>
                  </a:lnTo>
                  <a:lnTo>
                    <a:pt x="1153" y="516"/>
                  </a:lnTo>
                  <a:lnTo>
                    <a:pt x="1153" y="516"/>
                  </a:lnTo>
                  <a:lnTo>
                    <a:pt x="1153" y="525"/>
                  </a:lnTo>
                  <a:lnTo>
                    <a:pt x="1153" y="534"/>
                  </a:lnTo>
                  <a:lnTo>
                    <a:pt x="1153" y="542"/>
                  </a:lnTo>
                  <a:lnTo>
                    <a:pt x="1153" y="542"/>
                  </a:lnTo>
                  <a:lnTo>
                    <a:pt x="1154" y="544"/>
                  </a:lnTo>
                  <a:lnTo>
                    <a:pt x="1158" y="545"/>
                  </a:lnTo>
                  <a:lnTo>
                    <a:pt x="1162" y="547"/>
                  </a:lnTo>
                  <a:lnTo>
                    <a:pt x="1187" y="619"/>
                  </a:lnTo>
                  <a:lnTo>
                    <a:pt x="1187" y="628"/>
                  </a:lnTo>
                  <a:lnTo>
                    <a:pt x="1198" y="639"/>
                  </a:lnTo>
                  <a:lnTo>
                    <a:pt x="1198" y="639"/>
                  </a:lnTo>
                  <a:lnTo>
                    <a:pt x="1201" y="644"/>
                  </a:lnTo>
                  <a:lnTo>
                    <a:pt x="1203" y="649"/>
                  </a:lnTo>
                  <a:lnTo>
                    <a:pt x="1203" y="656"/>
                  </a:lnTo>
                  <a:lnTo>
                    <a:pt x="1203" y="656"/>
                  </a:lnTo>
                  <a:lnTo>
                    <a:pt x="1205" y="661"/>
                  </a:lnTo>
                  <a:lnTo>
                    <a:pt x="1206" y="667"/>
                  </a:lnTo>
                  <a:lnTo>
                    <a:pt x="1209" y="672"/>
                  </a:lnTo>
                  <a:lnTo>
                    <a:pt x="1210" y="679"/>
                  </a:lnTo>
                  <a:lnTo>
                    <a:pt x="1210" y="679"/>
                  </a:lnTo>
                  <a:lnTo>
                    <a:pt x="1203" y="693"/>
                  </a:lnTo>
                  <a:lnTo>
                    <a:pt x="1199" y="704"/>
                  </a:lnTo>
                  <a:lnTo>
                    <a:pt x="1198" y="711"/>
                  </a:lnTo>
                  <a:lnTo>
                    <a:pt x="1198" y="711"/>
                  </a:lnTo>
                  <a:lnTo>
                    <a:pt x="1192" y="714"/>
                  </a:lnTo>
                  <a:lnTo>
                    <a:pt x="1180" y="715"/>
                  </a:lnTo>
                  <a:lnTo>
                    <a:pt x="1168" y="719"/>
                  </a:lnTo>
                  <a:lnTo>
                    <a:pt x="1163" y="722"/>
                  </a:lnTo>
                  <a:lnTo>
                    <a:pt x="1159" y="724"/>
                  </a:lnTo>
                  <a:lnTo>
                    <a:pt x="1159" y="724"/>
                  </a:lnTo>
                  <a:lnTo>
                    <a:pt x="1155" y="729"/>
                  </a:lnTo>
                  <a:lnTo>
                    <a:pt x="1150" y="737"/>
                  </a:lnTo>
                  <a:lnTo>
                    <a:pt x="1146" y="748"/>
                  </a:lnTo>
                  <a:lnTo>
                    <a:pt x="1146" y="748"/>
                  </a:lnTo>
                  <a:lnTo>
                    <a:pt x="1142" y="754"/>
                  </a:lnTo>
                  <a:lnTo>
                    <a:pt x="1140" y="759"/>
                  </a:lnTo>
                  <a:lnTo>
                    <a:pt x="1137" y="761"/>
                  </a:lnTo>
                  <a:lnTo>
                    <a:pt x="1136" y="762"/>
                  </a:lnTo>
                  <a:lnTo>
                    <a:pt x="1136" y="762"/>
                  </a:lnTo>
                  <a:lnTo>
                    <a:pt x="1132" y="761"/>
                  </a:lnTo>
                  <a:lnTo>
                    <a:pt x="1128" y="758"/>
                  </a:lnTo>
                  <a:lnTo>
                    <a:pt x="1124" y="755"/>
                  </a:lnTo>
                  <a:lnTo>
                    <a:pt x="1098" y="742"/>
                  </a:lnTo>
                  <a:lnTo>
                    <a:pt x="1098" y="742"/>
                  </a:lnTo>
                  <a:lnTo>
                    <a:pt x="1088" y="749"/>
                  </a:lnTo>
                  <a:lnTo>
                    <a:pt x="1079" y="753"/>
                  </a:lnTo>
                  <a:lnTo>
                    <a:pt x="1075" y="754"/>
                  </a:lnTo>
                  <a:lnTo>
                    <a:pt x="1071" y="754"/>
                  </a:lnTo>
                  <a:lnTo>
                    <a:pt x="1071" y="754"/>
                  </a:lnTo>
                  <a:lnTo>
                    <a:pt x="1065" y="754"/>
                  </a:lnTo>
                  <a:lnTo>
                    <a:pt x="1060" y="755"/>
                  </a:lnTo>
                  <a:lnTo>
                    <a:pt x="1050" y="758"/>
                  </a:lnTo>
                  <a:lnTo>
                    <a:pt x="1043" y="761"/>
                  </a:lnTo>
                  <a:lnTo>
                    <a:pt x="1040" y="762"/>
                  </a:lnTo>
                  <a:lnTo>
                    <a:pt x="1036" y="762"/>
                  </a:lnTo>
                  <a:lnTo>
                    <a:pt x="1036" y="762"/>
                  </a:lnTo>
                  <a:lnTo>
                    <a:pt x="1032" y="762"/>
                  </a:lnTo>
                  <a:lnTo>
                    <a:pt x="1030" y="763"/>
                  </a:lnTo>
                  <a:lnTo>
                    <a:pt x="1026" y="767"/>
                  </a:lnTo>
                  <a:lnTo>
                    <a:pt x="1022" y="771"/>
                  </a:lnTo>
                  <a:lnTo>
                    <a:pt x="1019" y="772"/>
                  </a:lnTo>
                  <a:lnTo>
                    <a:pt x="1018" y="774"/>
                  </a:lnTo>
                  <a:lnTo>
                    <a:pt x="1018" y="774"/>
                  </a:lnTo>
                  <a:lnTo>
                    <a:pt x="1013" y="774"/>
                  </a:lnTo>
                  <a:lnTo>
                    <a:pt x="1006" y="775"/>
                  </a:lnTo>
                  <a:lnTo>
                    <a:pt x="1000" y="775"/>
                  </a:lnTo>
                  <a:lnTo>
                    <a:pt x="993" y="776"/>
                  </a:lnTo>
                  <a:lnTo>
                    <a:pt x="993" y="776"/>
                  </a:lnTo>
                  <a:lnTo>
                    <a:pt x="970" y="772"/>
                  </a:lnTo>
                  <a:lnTo>
                    <a:pt x="956" y="770"/>
                  </a:lnTo>
                  <a:lnTo>
                    <a:pt x="951" y="768"/>
                  </a:lnTo>
                  <a:lnTo>
                    <a:pt x="948" y="767"/>
                  </a:lnTo>
                  <a:lnTo>
                    <a:pt x="948" y="767"/>
                  </a:lnTo>
                  <a:lnTo>
                    <a:pt x="946" y="764"/>
                  </a:lnTo>
                  <a:lnTo>
                    <a:pt x="943" y="764"/>
                  </a:lnTo>
                  <a:lnTo>
                    <a:pt x="936" y="764"/>
                  </a:lnTo>
                  <a:lnTo>
                    <a:pt x="930" y="763"/>
                  </a:lnTo>
                  <a:lnTo>
                    <a:pt x="926" y="762"/>
                  </a:lnTo>
                  <a:lnTo>
                    <a:pt x="923" y="761"/>
                  </a:lnTo>
                  <a:lnTo>
                    <a:pt x="923" y="761"/>
                  </a:lnTo>
                  <a:lnTo>
                    <a:pt x="921" y="758"/>
                  </a:lnTo>
                  <a:lnTo>
                    <a:pt x="918" y="757"/>
                  </a:lnTo>
                  <a:lnTo>
                    <a:pt x="912" y="758"/>
                  </a:lnTo>
                  <a:lnTo>
                    <a:pt x="905" y="759"/>
                  </a:lnTo>
                  <a:lnTo>
                    <a:pt x="903" y="758"/>
                  </a:lnTo>
                  <a:lnTo>
                    <a:pt x="900" y="758"/>
                  </a:lnTo>
                  <a:lnTo>
                    <a:pt x="900" y="758"/>
                  </a:lnTo>
                  <a:lnTo>
                    <a:pt x="895" y="754"/>
                  </a:lnTo>
                  <a:lnTo>
                    <a:pt x="888" y="752"/>
                  </a:lnTo>
                  <a:lnTo>
                    <a:pt x="886" y="752"/>
                  </a:lnTo>
                  <a:lnTo>
                    <a:pt x="882" y="753"/>
                  </a:lnTo>
                  <a:lnTo>
                    <a:pt x="879" y="754"/>
                  </a:lnTo>
                  <a:lnTo>
                    <a:pt x="878" y="757"/>
                  </a:lnTo>
                  <a:lnTo>
                    <a:pt x="878" y="757"/>
                  </a:lnTo>
                  <a:lnTo>
                    <a:pt x="877" y="761"/>
                  </a:lnTo>
                  <a:lnTo>
                    <a:pt x="877" y="764"/>
                  </a:lnTo>
                  <a:lnTo>
                    <a:pt x="877" y="775"/>
                  </a:lnTo>
                  <a:lnTo>
                    <a:pt x="877" y="784"/>
                  </a:lnTo>
                  <a:lnTo>
                    <a:pt x="877" y="787"/>
                  </a:lnTo>
                  <a:lnTo>
                    <a:pt x="876" y="789"/>
                  </a:lnTo>
                  <a:lnTo>
                    <a:pt x="876" y="789"/>
                  </a:lnTo>
                  <a:lnTo>
                    <a:pt x="874" y="796"/>
                  </a:lnTo>
                  <a:lnTo>
                    <a:pt x="873" y="806"/>
                  </a:lnTo>
                  <a:lnTo>
                    <a:pt x="873" y="819"/>
                  </a:lnTo>
                  <a:lnTo>
                    <a:pt x="873" y="819"/>
                  </a:lnTo>
                  <a:lnTo>
                    <a:pt x="872" y="829"/>
                  </a:lnTo>
                  <a:lnTo>
                    <a:pt x="869" y="844"/>
                  </a:lnTo>
                  <a:lnTo>
                    <a:pt x="869" y="844"/>
                  </a:lnTo>
                  <a:lnTo>
                    <a:pt x="868" y="853"/>
                  </a:lnTo>
                  <a:lnTo>
                    <a:pt x="868" y="869"/>
                  </a:lnTo>
                  <a:lnTo>
                    <a:pt x="868" y="895"/>
                  </a:lnTo>
                  <a:lnTo>
                    <a:pt x="868" y="895"/>
                  </a:lnTo>
                  <a:lnTo>
                    <a:pt x="861" y="923"/>
                  </a:lnTo>
                  <a:lnTo>
                    <a:pt x="857" y="941"/>
                  </a:lnTo>
                  <a:lnTo>
                    <a:pt x="856" y="947"/>
                  </a:lnTo>
                  <a:lnTo>
                    <a:pt x="854" y="951"/>
                  </a:lnTo>
                  <a:lnTo>
                    <a:pt x="854" y="951"/>
                  </a:lnTo>
                  <a:lnTo>
                    <a:pt x="852" y="955"/>
                  </a:lnTo>
                  <a:lnTo>
                    <a:pt x="852" y="960"/>
                  </a:lnTo>
                  <a:lnTo>
                    <a:pt x="852" y="965"/>
                  </a:lnTo>
                  <a:lnTo>
                    <a:pt x="852" y="972"/>
                  </a:lnTo>
                  <a:lnTo>
                    <a:pt x="852" y="972"/>
                  </a:lnTo>
                  <a:lnTo>
                    <a:pt x="851" y="978"/>
                  </a:lnTo>
                  <a:lnTo>
                    <a:pt x="851" y="989"/>
                  </a:lnTo>
                  <a:lnTo>
                    <a:pt x="850" y="998"/>
                  </a:lnTo>
                  <a:lnTo>
                    <a:pt x="848" y="1002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4" y="1004"/>
                  </a:lnTo>
                  <a:lnTo>
                    <a:pt x="843" y="1007"/>
                  </a:lnTo>
                  <a:lnTo>
                    <a:pt x="842" y="1012"/>
                  </a:lnTo>
                  <a:lnTo>
                    <a:pt x="841" y="1018"/>
                  </a:lnTo>
                  <a:lnTo>
                    <a:pt x="842" y="1022"/>
                  </a:lnTo>
                  <a:lnTo>
                    <a:pt x="842" y="1022"/>
                  </a:lnTo>
                  <a:lnTo>
                    <a:pt x="842" y="1029"/>
                  </a:lnTo>
                  <a:lnTo>
                    <a:pt x="843" y="1033"/>
                  </a:lnTo>
                  <a:lnTo>
                    <a:pt x="843" y="1033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41" y="1057"/>
                  </a:lnTo>
                  <a:lnTo>
                    <a:pt x="841" y="1069"/>
                  </a:lnTo>
                  <a:lnTo>
                    <a:pt x="841" y="1069"/>
                  </a:lnTo>
                  <a:close/>
                </a:path>
              </a:pathLst>
            </a:custGeom>
            <a:grpFill/>
            <a:ln w="19050" cmpd="dbl">
              <a:noFill/>
            </a:ln>
          </p:spPr>
          <p:txBody>
            <a:bodyPr vert="horz" wrap="square" lIns="40505" tIns="20254" rIns="40505" bIns="20254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525" dirty="0">
                <a:solidFill>
                  <a:prstClr val="black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31" b="58351" l="29172" r="75032">
                        <a14:foregroundMark x1="37325" y1="42283" x2="37325" y2="42283"/>
                        <a14:foregroundMark x1="37707" y1="23890" x2="37707" y2="23890"/>
                        <a14:foregroundMark x1="56178" y1="22199" x2="56178" y2="22199"/>
                        <a14:foregroundMark x1="52357" y1="21353" x2="52357" y2="21353"/>
                        <a14:foregroundMark x1="41529" y1="34038" x2="41529" y2="34038"/>
                        <a14:foregroundMark x1="41019" y1="31712" x2="37707" y2="45877"/>
                        <a14:foregroundMark x1="68917" y1="31078" x2="66497" y2="36786"/>
                        <a14:foregroundMark x1="32994" y1="35518" x2="38471" y2="50951"/>
                        <a14:foregroundMark x1="72357" y1="19239" x2="72357" y2="19239"/>
                        <a14:foregroundMark x1="66115" y1="47146" x2="66115" y2="47146"/>
                        <a14:foregroundMark x1="64841" y1="53277" x2="66752" y2="46089"/>
                        <a14:foregroundMark x1="30955" y1="42283" x2="38854" y2="52854"/>
                        <a14:foregroundMark x1="42675" y1="35307" x2="41274" y2="51163"/>
                        <a14:foregroundMark x1="42420" y1="29387" x2="44586" y2="283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911" t="13601" r="24693" b="37400"/>
          <a:stretch/>
        </p:blipFill>
        <p:spPr>
          <a:xfrm>
            <a:off x="2456591" y="483701"/>
            <a:ext cx="4341813" cy="2583284"/>
          </a:xfrm>
          <a:prstGeom prst="rect">
            <a:avLst/>
          </a:prstGeom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8039E412-75DB-4FD3-A2CB-8F540F026317}"/>
              </a:ext>
            </a:extLst>
          </p:cNvPr>
          <p:cNvSpPr/>
          <p:nvPr/>
        </p:nvSpPr>
        <p:spPr>
          <a:xfrm>
            <a:off x="806746" y="2897851"/>
            <a:ext cx="8179296" cy="1767167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АКТУАЛЬНЫЕ </a:t>
            </a:r>
            <a:r>
              <a:rPr lang="ru-RU" sz="2800" b="1" dirty="0">
                <a:solidFill>
                  <a:schemeClr val="accent1">
                    <a:lumMod val="50000"/>
                  </a:schemeClr>
                </a:solidFill>
              </a:rPr>
              <a:t>ВОПРОСЫ </a:t>
            </a:r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</a:rPr>
              <a:t>ИМПОРТОЗАМЕЩЕНИЯ ПЛОДООВОЩНОЙ ПРОДУКЦИИ, ЕЕ ПЕРЕРАБОТКИ И ХРАНЕНИЯ, ВКЛЮЧАЯ ВОПРОСЫ УВЕЛИЧЕНИЯ ПРОИЗВОДСТВА САХАРНОЙ СВЕКЛЫ</a:t>
            </a:r>
            <a:endParaRPr lang="ru-RU" sz="2800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1600" dirty="0" smtClean="0">
                <a:ea typeface="+mn-ea"/>
                <a:cs typeface="Arial" panose="020B0604020202020204" pitchFamily="34" charset="0"/>
              </a:rPr>
              <a:t>ПЕРЕРАБОТКА ПЛОДООВОЩНОЙ ПРОДУКЦИИ</a:t>
            </a:r>
            <a:endParaRPr lang="ru-RU" sz="1600" dirty="0"/>
          </a:p>
        </p:txBody>
      </p:sp>
      <p:sp>
        <p:nvSpPr>
          <p:cNvPr id="34" name="Нашивка 33"/>
          <p:cNvSpPr/>
          <p:nvPr/>
        </p:nvSpPr>
        <p:spPr>
          <a:xfrm>
            <a:off x="163030" y="489622"/>
            <a:ext cx="8901182" cy="602331"/>
          </a:xfrm>
          <a:prstGeom prst="chevron">
            <a:avLst>
              <a:gd name="adj" fmla="val 2675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РЕАЛИЗУЕТСЯ КОМПЛЕКС МЕР, ПРЕДУСМАТРИВАЮЩИЙ СТРОИТЕЛЬСТВО НОВЫХ, МОДЕРНИЗАЦИЮ И ДОЗАГРУЗКУ ДЕЙСТВУЮЩИХ ПРЕДПРИЯТИЙ ПО ПЕРЕРАБОТКЕ. 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07504" y="1139196"/>
            <a:ext cx="6264696" cy="1000506"/>
            <a:chOff x="107504" y="1139196"/>
            <a:chExt cx="5054993" cy="1000506"/>
          </a:xfrm>
        </p:grpSpPr>
        <p:sp>
          <p:nvSpPr>
            <p:cNvPr id="4" name="Скругленный прямоугольник 3"/>
            <p:cNvSpPr/>
            <p:nvPr/>
          </p:nvSpPr>
          <p:spPr bwMode="auto">
            <a:xfrm>
              <a:off x="3498491" y="1423441"/>
              <a:ext cx="1321616" cy="315029"/>
            </a:xfrm>
            <a:prstGeom prst="round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E0D534DE-2D5F-41BB-B3A6-B980B598BEA9}"/>
                </a:ext>
              </a:extLst>
            </p:cNvPr>
            <p:cNvSpPr/>
            <p:nvPr/>
          </p:nvSpPr>
          <p:spPr>
            <a:xfrm>
              <a:off x="323546" y="1282251"/>
              <a:ext cx="4838951" cy="827879"/>
            </a:xfrm>
            <a:prstGeom prst="rect">
              <a:avLst/>
            </a:prstGeom>
            <a:noFill/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ru-RU" sz="667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698B8815-747D-4052-82A9-9F928DEB6232}"/>
                </a:ext>
              </a:extLst>
            </p:cNvPr>
            <p:cNvSpPr txBox="1"/>
            <p:nvPr/>
          </p:nvSpPr>
          <p:spPr>
            <a:xfrm>
              <a:off x="135220" y="1139196"/>
              <a:ext cx="321289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2400" b="1">
                  <a:cs typeface="Arial" charset="0"/>
                </a:defRPr>
              </a:lvl1pPr>
            </a:lstStyle>
            <a:p>
              <a:r>
                <a:rPr lang="ru-RU" sz="1800" dirty="0" smtClean="0">
                  <a:solidFill>
                    <a:srgbClr val="00518E"/>
                  </a:solidFill>
                  <a:cs typeface="Arial" pitchFamily="34" charset="0"/>
                </a:rPr>
                <a:t>В 2022 ГОДУ РЕАЛИЗОВАНО </a:t>
              </a:r>
              <a:endParaRPr lang="x-none" sz="1800" dirty="0">
                <a:solidFill>
                  <a:srgbClr val="00518E"/>
                </a:solidFill>
                <a:cs typeface="Arial" pitchFamily="34" charset="0"/>
              </a:endParaRPr>
            </a:p>
          </p:txBody>
        </p:sp>
        <p:sp>
          <p:nvSpPr>
            <p:cNvPr id="53" name="Нашивка 52"/>
            <p:cNvSpPr/>
            <p:nvPr/>
          </p:nvSpPr>
          <p:spPr>
            <a:xfrm>
              <a:off x="412655" y="1537092"/>
              <a:ext cx="2300950" cy="420866"/>
            </a:xfrm>
            <a:prstGeom prst="chevron">
              <a:avLst/>
            </a:prstGeom>
            <a:pattFill prst="ltDnDiag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ru-RU" sz="1050" b="1" dirty="0" smtClean="0">
                  <a:solidFill>
                    <a:schemeClr val="tx1"/>
                  </a:solidFill>
                  <a:cs typeface="Arial" charset="0"/>
                </a:rPr>
                <a:t>ИНВЕСТИЦИОННЫХ ПРОЕКТОВ</a:t>
              </a:r>
              <a:endParaRPr lang="ru-RU" sz="1050" b="1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54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107504" y="1468703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15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55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2795383" y="1513016"/>
              <a:ext cx="401936" cy="300485"/>
              <a:chOff x="5048874" y="1509126"/>
              <a:chExt cx="459230" cy="630576"/>
            </a:xfrm>
            <a:solidFill>
              <a:schemeClr val="accent2"/>
            </a:solidFill>
          </p:grpSpPr>
          <p:sp>
            <p:nvSpPr>
              <p:cNvPr id="56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79" y="1548298"/>
                <a:ext cx="243907" cy="55223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57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8" y="1509126"/>
                <a:ext cx="278206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sp>
          <p:nvSpPr>
            <p:cNvPr id="65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3227177" y="1423441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8,7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3723124" y="1423441"/>
              <a:ext cx="1361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600" b="1" dirty="0" smtClean="0">
                  <a:solidFill>
                    <a:schemeClr val="bg1"/>
                  </a:solidFill>
                  <a:cs typeface="Arial" pitchFamily="34" charset="0"/>
                </a:rPr>
                <a:t> млрд. </a:t>
              </a:r>
              <a:r>
                <a:rPr lang="ru-RU" sz="1600" b="1" dirty="0" err="1" smtClean="0">
                  <a:solidFill>
                    <a:schemeClr val="bg1"/>
                  </a:solidFill>
                  <a:cs typeface="Arial" pitchFamily="34" charset="0"/>
                </a:rPr>
                <a:t>тг</a:t>
              </a:r>
              <a:endParaRPr lang="ru-RU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77" name="Oval 5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A3A7F9F-9155-4236-887C-732458EBDDC0}"/>
                </a:ext>
              </a:extLst>
            </p:cNvPr>
            <p:cNvSpPr/>
            <p:nvPr/>
          </p:nvSpPr>
          <p:spPr bwMode="auto">
            <a:xfrm>
              <a:off x="3645675" y="1623347"/>
              <a:ext cx="1364911" cy="516355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b="1" dirty="0" smtClean="0">
                  <a:solidFill>
                    <a:srgbClr val="00518E"/>
                  </a:solidFill>
                </a:rPr>
                <a:t>21,7 </a:t>
              </a:r>
              <a:r>
                <a:rPr lang="ru-RU" sz="1200" b="1" dirty="0" smtClean="0">
                  <a:solidFill>
                    <a:srgbClr val="00518E"/>
                  </a:solidFill>
                </a:rPr>
                <a:t>тыс. тонн</a:t>
              </a:r>
              <a:endParaRPr lang="en-US" sz="1200" b="1" dirty="0">
                <a:solidFill>
                  <a:srgbClr val="00518E"/>
                </a:solidFill>
              </a:endParaRPr>
            </a:p>
          </p:txBody>
        </p:sp>
      </p:grp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5220" y="36156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150186" y="4321427"/>
            <a:ext cx="8801552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dirty="0" smtClean="0">
                <a:solidFill>
                  <a:srgbClr val="FF0000"/>
                </a:solidFill>
              </a:rPr>
              <a:t>НАПРИМЕР. </a:t>
            </a:r>
            <a:r>
              <a:rPr lang="ru-RU" sz="1200" b="1" dirty="0" smtClean="0">
                <a:solidFill>
                  <a:srgbClr val="00518E"/>
                </a:solidFill>
              </a:rPr>
              <a:t>Была достигнута договоренность с крупной китайской компанией </a:t>
            </a:r>
            <a:r>
              <a:rPr lang="en-US" sz="1200" b="1" dirty="0" smtClean="0">
                <a:solidFill>
                  <a:srgbClr val="00518E"/>
                </a:solidFill>
              </a:rPr>
              <a:t>W</a:t>
            </a:r>
            <a:r>
              <a:rPr lang="ru-RU" sz="1200" b="1" dirty="0" err="1" smtClean="0">
                <a:solidFill>
                  <a:srgbClr val="00518E"/>
                </a:solidFill>
              </a:rPr>
              <a:t>anlin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en-US" sz="1200" b="1" dirty="0" smtClean="0">
                <a:solidFill>
                  <a:srgbClr val="00518E"/>
                </a:solidFill>
              </a:rPr>
              <a:t>G</a:t>
            </a:r>
            <a:r>
              <a:rPr lang="ru-RU" sz="1200" b="1" dirty="0" err="1" smtClean="0">
                <a:solidFill>
                  <a:srgbClr val="00518E"/>
                </a:solidFill>
              </a:rPr>
              <a:t>roup</a:t>
            </a:r>
            <a:r>
              <a:rPr lang="ru-RU" sz="1200" b="1" dirty="0" smtClean="0">
                <a:solidFill>
                  <a:srgbClr val="00518E"/>
                </a:solidFill>
              </a:rPr>
              <a:t> </a:t>
            </a:r>
            <a:r>
              <a:rPr lang="en-US" sz="1200" b="1" dirty="0" smtClean="0">
                <a:solidFill>
                  <a:srgbClr val="00518E"/>
                </a:solidFill>
              </a:rPr>
              <a:t>L</a:t>
            </a:r>
            <a:r>
              <a:rPr lang="ru-RU" sz="1200" b="1" dirty="0" err="1" smtClean="0">
                <a:solidFill>
                  <a:srgbClr val="00518E"/>
                </a:solidFill>
              </a:rPr>
              <a:t>imited</a:t>
            </a:r>
            <a:r>
              <a:rPr lang="ru-RU" sz="1200" b="1" dirty="0" smtClean="0">
                <a:solidFill>
                  <a:srgbClr val="00518E"/>
                </a:solidFill>
              </a:rPr>
              <a:t> о строительстве завода по выпуску </a:t>
            </a:r>
            <a:r>
              <a:rPr lang="ru-RU" sz="1200" b="1" dirty="0" err="1" smtClean="0">
                <a:solidFill>
                  <a:srgbClr val="00518E"/>
                </a:solidFill>
              </a:rPr>
              <a:t>дегидрированных</a:t>
            </a:r>
            <a:r>
              <a:rPr lang="ru-RU" sz="1200" b="1" dirty="0" smtClean="0">
                <a:solidFill>
                  <a:srgbClr val="00518E"/>
                </a:solidFill>
              </a:rPr>
              <a:t> овощей в </a:t>
            </a:r>
            <a:r>
              <a:rPr lang="ru-RU" sz="1200" b="1" dirty="0" err="1" smtClean="0">
                <a:solidFill>
                  <a:srgbClr val="00518E"/>
                </a:solidFill>
              </a:rPr>
              <a:t>Жамбылской</a:t>
            </a:r>
            <a:r>
              <a:rPr lang="ru-RU" sz="1200" b="1" dirty="0" smtClean="0">
                <a:solidFill>
                  <a:srgbClr val="00518E"/>
                </a:solidFill>
              </a:rPr>
              <a:t> области.  Проект планируется осуществить в три этапа в течение 5 лет, а общий объем инвестиций составляет 30 млн долларов. </a:t>
            </a:r>
            <a:r>
              <a:rPr lang="ru-RU" sz="1200" b="1" smtClean="0">
                <a:solidFill>
                  <a:srgbClr val="00518E"/>
                </a:solidFill>
              </a:rPr>
              <a:t>Мощность </a:t>
            </a:r>
            <a:r>
              <a:rPr lang="ru-RU" sz="1200" b="1" smtClean="0">
                <a:solidFill>
                  <a:srgbClr val="00518E"/>
                </a:solidFill>
              </a:rPr>
              <a:t>проекта - 5-7 </a:t>
            </a:r>
            <a:r>
              <a:rPr lang="ru-RU" sz="1200" b="1" dirty="0" smtClean="0">
                <a:solidFill>
                  <a:srgbClr val="00518E"/>
                </a:solidFill>
              </a:rPr>
              <a:t>тыс. тонн сублимационного лука и чеснока в год.</a:t>
            </a:r>
            <a:endParaRPr lang="ru-RU" sz="1200" b="1" dirty="0">
              <a:solidFill>
                <a:srgbClr val="00518E"/>
              </a:solidFill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135220" y="3202769"/>
            <a:ext cx="6236980" cy="998641"/>
            <a:chOff x="107504" y="1139196"/>
            <a:chExt cx="5054993" cy="998641"/>
          </a:xfrm>
        </p:grpSpPr>
        <p:sp>
          <p:nvSpPr>
            <p:cNvPr id="42" name="Скругленный прямоугольник 41"/>
            <p:cNvSpPr/>
            <p:nvPr/>
          </p:nvSpPr>
          <p:spPr bwMode="auto">
            <a:xfrm>
              <a:off x="3498491" y="1423441"/>
              <a:ext cx="1321616" cy="315029"/>
            </a:xfrm>
            <a:prstGeom prst="round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E0D534DE-2D5F-41BB-B3A6-B980B598BEA9}"/>
                </a:ext>
              </a:extLst>
            </p:cNvPr>
            <p:cNvSpPr/>
            <p:nvPr/>
          </p:nvSpPr>
          <p:spPr>
            <a:xfrm>
              <a:off x="323546" y="1282251"/>
              <a:ext cx="4838951" cy="827879"/>
            </a:xfrm>
            <a:prstGeom prst="rect">
              <a:avLst/>
            </a:prstGeom>
            <a:noFill/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ru-RU" sz="667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698B8815-747D-4052-82A9-9F928DEB6232}"/>
                </a:ext>
              </a:extLst>
            </p:cNvPr>
            <p:cNvSpPr txBox="1"/>
            <p:nvPr/>
          </p:nvSpPr>
          <p:spPr>
            <a:xfrm>
              <a:off x="135220" y="1139196"/>
              <a:ext cx="321289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sz="2400" b="1">
                  <a:cs typeface="Arial" charset="0"/>
                </a:defRPr>
              </a:lvl1pPr>
            </a:lstStyle>
            <a:p>
              <a:r>
                <a:rPr lang="ru-RU" sz="1800" dirty="0" smtClean="0">
                  <a:solidFill>
                    <a:srgbClr val="00518E"/>
                  </a:solidFill>
                  <a:cs typeface="Arial" pitchFamily="34" charset="0"/>
                </a:rPr>
                <a:t>В 2023 ГОДУ ПЛАНИРУЕТСЯ </a:t>
              </a:r>
              <a:endParaRPr lang="x-none" sz="1800" dirty="0">
                <a:solidFill>
                  <a:srgbClr val="00518E"/>
                </a:solidFill>
                <a:cs typeface="Arial" pitchFamily="34" charset="0"/>
              </a:endParaRPr>
            </a:p>
          </p:txBody>
        </p:sp>
        <p:sp>
          <p:nvSpPr>
            <p:cNvPr id="45" name="Нашивка 44"/>
            <p:cNvSpPr/>
            <p:nvPr/>
          </p:nvSpPr>
          <p:spPr>
            <a:xfrm>
              <a:off x="412655" y="1537092"/>
              <a:ext cx="2300950" cy="420866"/>
            </a:xfrm>
            <a:prstGeom prst="chevron">
              <a:avLst/>
            </a:prstGeom>
            <a:pattFill prst="ltDnDiag">
              <a:fgClr>
                <a:schemeClr val="accent3">
                  <a:lumMod val="40000"/>
                  <a:lumOff val="60000"/>
                </a:schemeClr>
              </a:fgClr>
              <a:bgClr>
                <a:schemeClr val="bg1"/>
              </a:bgClr>
            </a:pattFill>
            <a:ln>
              <a:solidFill>
                <a:srgbClr val="00518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/>
              <a:r>
                <a:rPr lang="ru-RU" sz="1050" b="1" dirty="0" smtClean="0">
                  <a:solidFill>
                    <a:schemeClr val="tx1"/>
                  </a:solidFill>
                  <a:cs typeface="Arial" charset="0"/>
                </a:rPr>
                <a:t>ИНВЕСТИЦИОННЫХ ПРОЕКТОВ</a:t>
              </a:r>
              <a:endParaRPr lang="ru-RU" sz="1050" b="1" dirty="0">
                <a:solidFill>
                  <a:schemeClr val="tx1"/>
                </a:solidFill>
                <a:cs typeface="Arial" charset="0"/>
              </a:endParaRPr>
            </a:p>
          </p:txBody>
        </p:sp>
        <p:sp>
          <p:nvSpPr>
            <p:cNvPr id="48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107504" y="1468703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30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49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2795383" y="1513016"/>
              <a:ext cx="401936" cy="300485"/>
              <a:chOff x="5048874" y="1509126"/>
              <a:chExt cx="459230" cy="630576"/>
            </a:xfrm>
            <a:solidFill>
              <a:schemeClr val="accent2"/>
            </a:solidFill>
          </p:grpSpPr>
          <p:sp>
            <p:nvSpPr>
              <p:cNvPr id="58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79" y="1548298"/>
                <a:ext cx="243907" cy="55223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FFC000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59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8" y="1509126"/>
                <a:ext cx="278206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sp>
          <p:nvSpPr>
            <p:cNvPr id="50" name="Oval 51">
              <a:extLst>
                <a:ext uri="{FF2B5EF4-FFF2-40B4-BE49-F238E27FC236}">
                  <a16:creationId xmlns="" xmlns:a16="http://schemas.microsoft.com/office/drawing/2014/main" id="{DA3A7F9F-9155-4236-887C-732458EBDDC0}"/>
                </a:ext>
              </a:extLst>
            </p:cNvPr>
            <p:cNvSpPr/>
            <p:nvPr/>
          </p:nvSpPr>
          <p:spPr bwMode="auto">
            <a:xfrm>
              <a:off x="3227177" y="1423441"/>
              <a:ext cx="531082" cy="557641"/>
            </a:xfrm>
            <a:prstGeom prst="ellipse">
              <a:avLst/>
            </a:prstGeom>
            <a:solidFill>
              <a:srgbClr val="00518E"/>
            </a:solidFill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2000" b="1" dirty="0" smtClean="0">
                  <a:solidFill>
                    <a:srgbClr val="FFFFFF"/>
                  </a:solidFill>
                </a:rPr>
                <a:t>93,3</a:t>
              </a:r>
              <a:endParaRPr lang="en-US" sz="2000" b="1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723124" y="1423441"/>
              <a:ext cx="13619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ru-RU" sz="1600" b="1" dirty="0" smtClean="0">
                  <a:solidFill>
                    <a:schemeClr val="bg1"/>
                  </a:solidFill>
                  <a:cs typeface="Arial" pitchFamily="34" charset="0"/>
                </a:rPr>
                <a:t> млрд. </a:t>
              </a:r>
              <a:r>
                <a:rPr lang="ru-RU" sz="1600" b="1" dirty="0" err="1" smtClean="0">
                  <a:solidFill>
                    <a:schemeClr val="bg1"/>
                  </a:solidFill>
                  <a:cs typeface="Arial" pitchFamily="34" charset="0"/>
                </a:rPr>
                <a:t>тг</a:t>
              </a:r>
              <a:endParaRPr lang="ru-RU" sz="1600" dirty="0">
                <a:solidFill>
                  <a:schemeClr val="bg1"/>
                </a:solidFill>
                <a:cs typeface="Arial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="" xmlns:a16="http://schemas.microsoft.com/office/drawing/2014/main" xmlns:lc="http://schemas.openxmlformats.org/drawingml/2006/lockedCanvas" id="{DA3A7F9F-9155-4236-887C-732458EBDDC0}"/>
                </a:ext>
              </a:extLst>
            </p:cNvPr>
            <p:cNvSpPr/>
            <p:nvPr/>
          </p:nvSpPr>
          <p:spPr bwMode="auto">
            <a:xfrm>
              <a:off x="3679829" y="1621482"/>
              <a:ext cx="1364911" cy="516355"/>
            </a:xfrm>
            <a:prstGeom prst="ellipse">
              <a:avLst/>
            </a:prstGeom>
            <a:noFill/>
            <a:ln w="19050">
              <a:noFill/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b="1" dirty="0" smtClean="0">
                  <a:solidFill>
                    <a:srgbClr val="00518E"/>
                  </a:solidFill>
                </a:rPr>
                <a:t>104,1 </a:t>
              </a:r>
              <a:r>
                <a:rPr lang="ru-RU" sz="1200" b="1" dirty="0" smtClean="0">
                  <a:solidFill>
                    <a:srgbClr val="00518E"/>
                  </a:solidFill>
                </a:rPr>
                <a:t>тыс. тонн</a:t>
              </a:r>
              <a:endParaRPr lang="en-US" sz="1200" b="1" dirty="0">
                <a:solidFill>
                  <a:srgbClr val="00518E"/>
                </a:solidFill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>
            <a:off x="181547" y="2322037"/>
            <a:ext cx="8801552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dirty="0" smtClean="0">
                <a:solidFill>
                  <a:srgbClr val="FF0000"/>
                </a:solidFill>
              </a:rPr>
              <a:t>НАПРИМЕР. </a:t>
            </a:r>
            <a:r>
              <a:rPr lang="ru-RU" sz="1200" b="1" dirty="0" smtClean="0">
                <a:solidFill>
                  <a:srgbClr val="00518E"/>
                </a:solidFill>
              </a:rPr>
              <a:t>В </a:t>
            </a:r>
            <a:r>
              <a:rPr lang="ru-RU" sz="1200" b="1" dirty="0" err="1" smtClean="0">
                <a:solidFill>
                  <a:srgbClr val="00518E"/>
                </a:solidFill>
              </a:rPr>
              <a:t>Алматинской</a:t>
            </a:r>
            <a:r>
              <a:rPr lang="ru-RU" sz="1200" b="1" dirty="0" smtClean="0">
                <a:solidFill>
                  <a:srgbClr val="00518E"/>
                </a:solidFill>
              </a:rPr>
              <a:t> области функционирует экспортный кластер ТОО «</a:t>
            </a:r>
            <a:r>
              <a:rPr lang="en-US" sz="1200" b="1" dirty="0" smtClean="0">
                <a:solidFill>
                  <a:srgbClr val="00518E"/>
                </a:solidFill>
              </a:rPr>
              <a:t>Fruit Art</a:t>
            </a:r>
            <a:r>
              <a:rPr lang="ru-RU" sz="1200" b="1" dirty="0" smtClean="0">
                <a:solidFill>
                  <a:srgbClr val="00518E"/>
                </a:solidFill>
              </a:rPr>
              <a:t>», направленный на глубокую переработку фруктов и ягод с применением инновационных технологий. Завод сублимации и шоковой заморозки – самый крупный на территории СНГ. Готовая продукция поставляется на рынки развитых стран (пищевая индустрия и розничные сети), включая ЕС, США, Японию и Южную Корею.</a:t>
            </a:r>
            <a:endParaRPr lang="ru-RU" sz="1200" b="1" dirty="0">
              <a:solidFill>
                <a:srgbClr val="00518E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881" y="1145870"/>
            <a:ext cx="2327851" cy="121483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1880" y="3119678"/>
            <a:ext cx="2327851" cy="1214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460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Grp="1" noChangeAspect="1" noChangeArrowheads="1"/>
          </p:cNvPicPr>
          <p:nvPr>
            <p:ph type="pic" sz="quarter" idx="5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21" b="25721"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2D0A1BFD-1B1C-4032-8047-92EF75C9FB05}"/>
              </a:ext>
            </a:extLst>
          </p:cNvPr>
          <p:cNvSpPr/>
          <p:nvPr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70C0">
              <a:alpha val="74000"/>
            </a:srgb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tangle 262">
            <a:extLst>
              <a:ext uri="{FF2B5EF4-FFF2-40B4-BE49-F238E27FC236}">
                <a16:creationId xmlns:a16="http://schemas.microsoft.com/office/drawing/2014/main" xmlns="" id="{9F07972D-5A8B-4511-BEBC-AB97486CBB08}"/>
              </a:ext>
            </a:extLst>
          </p:cNvPr>
          <p:cNvSpPr>
            <a:spLocks noChangeArrowheads="1"/>
          </p:cNvSpPr>
          <p:nvPr/>
        </p:nvSpPr>
        <p:spPr bwMode="auto">
          <a:xfrm rot="10800000">
            <a:off x="0" y="2101467"/>
            <a:ext cx="9144000" cy="1903475"/>
          </a:xfrm>
          <a:prstGeom prst="rect">
            <a:avLst/>
          </a:prstGeom>
          <a:solidFill>
            <a:srgbClr val="0070C0">
              <a:alpha val="64000"/>
            </a:srgbClr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ru-RU" sz="1900" b="1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8039E412-75DB-4FD3-A2CB-8F540F026317}"/>
              </a:ext>
            </a:extLst>
          </p:cNvPr>
          <p:cNvSpPr/>
          <p:nvPr/>
        </p:nvSpPr>
        <p:spPr>
          <a:xfrm>
            <a:off x="990600" y="2787774"/>
            <a:ext cx="7315200" cy="412950"/>
          </a:xfrm>
          <a:prstGeom prst="rect">
            <a:avLst/>
          </a:prstGeom>
          <a:noFill/>
        </p:spPr>
        <p:txBody>
          <a:bodyPr wrap="square" lIns="43196" tIns="21598" rIns="43196" bIns="21598">
            <a:spAutoFit/>
          </a:bodyPr>
          <a:lstStyle/>
          <a:p>
            <a:pPr algn="ctr" defTabSz="431909"/>
            <a:r>
              <a:rPr lang="ru-RU" sz="2400" b="1" dirty="0">
                <a:solidFill>
                  <a:schemeClr val="bg1"/>
                </a:solidFill>
              </a:rPr>
              <a:t>БЛАГОДАРЮ ЗА ВНИМАНИЕ!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1EDC5CD4-C5DE-4C86-8B10-576AD3B48664}"/>
              </a:ext>
            </a:extLst>
          </p:cNvPr>
          <p:cNvSpPr/>
          <p:nvPr/>
        </p:nvSpPr>
        <p:spPr>
          <a:xfrm>
            <a:off x="3581400" y="1189513"/>
            <a:ext cx="19812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AZAQSTAN RESPÝBLIKAS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ÝYL SHARÝASHYLYǴY</a:t>
            </a:r>
            <a:endParaRPr lang="en-US" sz="1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STRLІG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BF44D74-BED4-48A3-9D6A-0CE321425B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907" y="605909"/>
            <a:ext cx="512187" cy="528284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7672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0425"/>
            <a:ext cx="8856476" cy="300825"/>
          </a:xfrm>
          <a:prstGeom prst="rect">
            <a:avLst/>
          </a:prstGeom>
          <a:noFill/>
        </p:spPr>
        <p:txBody>
          <a:bodyPr/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1400" b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dirty="0" smtClean="0"/>
              <a:t>ПРОИЗВОДСТВО ОВОЩЕЙ</a:t>
            </a:r>
            <a:endParaRPr lang="ru-RU" sz="1600" dirty="0"/>
          </a:p>
        </p:txBody>
      </p:sp>
      <p:cxnSp>
        <p:nvCxnSpPr>
          <p:cNvPr id="41" name="Прямая соединительная линия 40">
            <a:extLst>
              <a:ext uri="{FF2B5EF4-FFF2-40B4-BE49-F238E27FC236}">
                <a16:creationId xmlns:a16="http://schemas.microsoft.com/office/drawing/2014/main" xmlns="" id="{AADD5FFD-F56D-40CC-9202-671555F64CE1}"/>
              </a:ext>
            </a:extLst>
          </p:cNvPr>
          <p:cNvCxnSpPr>
            <a:cxnSpLocks/>
          </p:cNvCxnSpPr>
          <p:nvPr/>
        </p:nvCxnSpPr>
        <p:spPr>
          <a:xfrm>
            <a:off x="0" y="394605"/>
            <a:ext cx="9144000" cy="0"/>
          </a:xfrm>
          <a:prstGeom prst="line">
            <a:avLst/>
          </a:prstGeom>
          <a:ln w="12700">
            <a:solidFill>
              <a:srgbClr val="0051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585141" y="851349"/>
            <a:ext cx="856325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ОВОЩИ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119" name="Группа 118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75136" y="1162092"/>
            <a:ext cx="1718144" cy="1176148"/>
            <a:chOff x="189560" y="856730"/>
            <a:chExt cx="1366919" cy="824385"/>
          </a:xfrm>
        </p:grpSpPr>
        <p:sp>
          <p:nvSpPr>
            <p:cNvPr id="120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122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3" name="Прямоугольник 122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69,7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124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126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7" name="Прямоугольник 126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59,2</a:t>
              </a:r>
              <a:endParaRPr lang="ru-RU" sz="800" dirty="0"/>
            </a:p>
          </p:txBody>
        </p:sp>
        <p:sp>
          <p:nvSpPr>
            <p:cNvPr id="128" name="Прямоугольник 127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73922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0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129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0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31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348" name="Прямоугольник 347"/>
          <p:cNvSpPr/>
          <p:nvPr/>
        </p:nvSpPr>
        <p:spPr>
          <a:xfrm>
            <a:off x="-244878" y="444739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ПОСЕВНЫЕ ПЛОЩАДИ, ТЫС. ГА</a:t>
            </a:r>
            <a:endParaRPr lang="ru-RU" sz="1600" b="1" dirty="0">
              <a:solidFill>
                <a:srgbClr val="00518E"/>
              </a:solidFill>
            </a:endParaRPr>
          </a:p>
        </p:txBody>
      </p:sp>
      <p:sp>
        <p:nvSpPr>
          <p:cNvPr id="349" name="Нашивка 348"/>
          <p:cNvSpPr/>
          <p:nvPr/>
        </p:nvSpPr>
        <p:spPr>
          <a:xfrm>
            <a:off x="287143" y="268957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777,3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50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1164367" y="237507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653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351" name="Прямоугольник 350"/>
          <p:cNvSpPr/>
          <p:nvPr/>
        </p:nvSpPr>
        <p:spPr>
          <a:xfrm>
            <a:off x="-407144" y="3231467"/>
            <a:ext cx="3467479" cy="338552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</a:rPr>
              <a:t>ВАЛОВЫЙ СБОР, ТЫС. ТОНН</a:t>
            </a:r>
            <a:endParaRPr lang="ru-RU" sz="1600" b="1" dirty="0">
              <a:solidFill>
                <a:srgbClr val="00518E"/>
              </a:solidFill>
            </a:endParaRPr>
          </a:p>
        </p:txBody>
      </p:sp>
      <p:cxnSp>
        <p:nvCxnSpPr>
          <p:cNvPr id="360" name="Прямая соединительная линия 359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1899276" y="1375297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1" name="Прямая соединительная линия 360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3739861" y="1433160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2" name="Прямая соединительная линия 361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5566417" y="1431822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3" name="Прямая соединительная линия 362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7408920" y="1347595"/>
            <a:ext cx="236" cy="159862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4" name="Прямая соединительная линия 363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 flipV="1">
            <a:off x="2640493" y="3414809"/>
            <a:ext cx="6419417" cy="6749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5" name="Рисунок 36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55" y="1884626"/>
            <a:ext cx="339713" cy="339713"/>
          </a:xfrm>
          <a:prstGeom prst="rect">
            <a:avLst/>
          </a:prstGeom>
        </p:spPr>
      </p:pic>
      <p:sp>
        <p:nvSpPr>
          <p:cNvPr id="366" name="Прямоугольник 365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2372906" y="844024"/>
            <a:ext cx="1047082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МОРКОВЬ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67" name="Группа 366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1958278" y="1154767"/>
            <a:ext cx="1718144" cy="1176148"/>
            <a:chOff x="189560" y="856730"/>
            <a:chExt cx="1366919" cy="824385"/>
          </a:xfrm>
        </p:grpSpPr>
        <p:sp>
          <p:nvSpPr>
            <p:cNvPr id="368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69" name="TextBox 368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370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1" name="Прямоугольник 370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1,4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72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374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5" name="Прямоугольник 374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0,6</a:t>
              </a:r>
              <a:endParaRPr lang="ru-RU" sz="800" dirty="0"/>
            </a:p>
          </p:txBody>
        </p:sp>
        <p:sp>
          <p:nvSpPr>
            <p:cNvPr id="376" name="Прямоугольник 375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1,0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77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8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79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80" name="Рисунок 37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997" y="1877301"/>
            <a:ext cx="339713" cy="339713"/>
          </a:xfrm>
          <a:prstGeom prst="rect">
            <a:avLst/>
          </a:prstGeom>
        </p:spPr>
      </p:pic>
      <p:sp>
        <p:nvSpPr>
          <p:cNvPr id="381" name="Прямоугольник 380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4292622" y="856297"/>
            <a:ext cx="933268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ОГУРЦЫ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82" name="Группа 381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3821085" y="1167040"/>
            <a:ext cx="1718144" cy="1176148"/>
            <a:chOff x="189560" y="856730"/>
            <a:chExt cx="1366919" cy="824385"/>
          </a:xfrm>
        </p:grpSpPr>
        <p:sp>
          <p:nvSpPr>
            <p:cNvPr id="383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385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6" name="Прямоугольник 385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23,1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387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88" name="TextBox 387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389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0" name="Прямоугольник 389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21,0</a:t>
              </a:r>
              <a:endParaRPr lang="ru-RU" sz="800" dirty="0"/>
            </a:p>
          </p:txBody>
        </p:sp>
        <p:sp>
          <p:nvSpPr>
            <p:cNvPr id="391" name="Прямоугольник 390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2,1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392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3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4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395" name="Рисунок 39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4" y="1889574"/>
            <a:ext cx="339713" cy="339713"/>
          </a:xfrm>
          <a:prstGeom prst="rect">
            <a:avLst/>
          </a:prstGeom>
        </p:spPr>
      </p:pic>
      <p:sp>
        <p:nvSpPr>
          <p:cNvPr id="396" name="Прямоугольник 395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5743950" y="879160"/>
            <a:ext cx="1574470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ЛУК РЕПЧАТЫЙ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397" name="Группа 396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5593016" y="1189903"/>
            <a:ext cx="1718144" cy="1176148"/>
            <a:chOff x="189560" y="856730"/>
            <a:chExt cx="1366919" cy="824385"/>
          </a:xfrm>
        </p:grpSpPr>
        <p:sp>
          <p:nvSpPr>
            <p:cNvPr id="398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400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1" name="Прямоугольник 400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3068"/>
              <a:ext cx="526101" cy="145615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37,2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02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04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5" name="Прямоугольник 404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32,7</a:t>
              </a:r>
              <a:endParaRPr lang="ru-RU" sz="800" dirty="0"/>
            </a:p>
          </p:txBody>
        </p:sp>
        <p:sp>
          <p:nvSpPr>
            <p:cNvPr id="406" name="Прямоугольник 405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4,5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07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8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09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10" name="Рисунок 409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35" y="1912437"/>
            <a:ext cx="339713" cy="339713"/>
          </a:xfrm>
          <a:prstGeom prst="rect">
            <a:avLst/>
          </a:prstGeom>
        </p:spPr>
      </p:pic>
      <p:sp>
        <p:nvSpPr>
          <p:cNvPr id="411" name="Прямоугольник 410">
            <a:extLst>
              <a:ext uri="{FF2B5EF4-FFF2-40B4-BE49-F238E27FC236}">
                <a16:creationId xmlns:a16="http://schemas.microsoft.com/office/drawing/2014/main" xmlns="" id="{A5441CB4-B8E2-4F8C-95A8-84AB72988E67}"/>
              </a:ext>
            </a:extLst>
          </p:cNvPr>
          <p:cNvSpPr/>
          <p:nvPr/>
        </p:nvSpPr>
        <p:spPr>
          <a:xfrm>
            <a:off x="7741709" y="858859"/>
            <a:ext cx="1263487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КАРТОФЕЛЬ</a:t>
            </a:r>
            <a:endParaRPr lang="ru-RU" sz="1600" b="1" dirty="0">
              <a:solidFill>
                <a:srgbClr val="00518E"/>
              </a:solidFill>
            </a:endParaRPr>
          </a:p>
        </p:txBody>
      </p:sp>
      <p:grpSp>
        <p:nvGrpSpPr>
          <p:cNvPr id="412" name="Группа 411">
            <a:extLst>
              <a:ext uri="{FF2B5EF4-FFF2-40B4-BE49-F238E27FC236}">
                <a16:creationId xmlns:a16="http://schemas.microsoft.com/office/drawing/2014/main" xmlns="" id="{B322CE2E-C7BE-4BF0-8EB0-349107F5B77A}"/>
              </a:ext>
            </a:extLst>
          </p:cNvPr>
          <p:cNvGrpSpPr/>
          <p:nvPr/>
        </p:nvGrpSpPr>
        <p:grpSpPr>
          <a:xfrm>
            <a:off x="7435283" y="1169602"/>
            <a:ext cx="1718144" cy="1176148"/>
            <a:chOff x="189560" y="856730"/>
            <a:chExt cx="1366919" cy="824385"/>
          </a:xfrm>
        </p:grpSpPr>
        <p:sp>
          <p:nvSpPr>
            <p:cNvPr id="413" name="Прямоугольник: скругленные верхние углы 190">
              <a:extLst>
                <a:ext uri="{FF2B5EF4-FFF2-40B4-BE49-F238E27FC236}">
                  <a16:creationId xmlns:a16="http://schemas.microsoft.com/office/drawing/2014/main" xmlns="" id="{6176819B-AB83-4198-A1AC-9EF976236312}"/>
                </a:ext>
              </a:extLst>
            </p:cNvPr>
            <p:cNvSpPr/>
            <p:nvPr/>
          </p:nvSpPr>
          <p:spPr bwMode="auto">
            <a:xfrm rot="10800000">
              <a:off x="1080032" y="1548101"/>
              <a:ext cx="420049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xmlns="" id="{71641516-6EC1-4238-BF28-1DD467BC4599}"/>
                </a:ext>
              </a:extLst>
            </p:cNvPr>
            <p:cNvSpPr txBox="1"/>
            <p:nvPr/>
          </p:nvSpPr>
          <p:spPr>
            <a:xfrm>
              <a:off x="1068999" y="1530106"/>
              <a:ext cx="439080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>
              <a:defPPr>
                <a:defRPr lang="en-US"/>
              </a:defPPr>
              <a:lvl1pPr algn="ctr" defTabSz="367194">
                <a:defRPr sz="800" b="1" i="1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defRPr>
              </a:lvl1pPr>
            </a:lstStyle>
            <a:p>
              <a:r>
                <a:rPr lang="ru-RU" dirty="0">
                  <a:solidFill>
                    <a:schemeClr val="tx1"/>
                  </a:solidFill>
                </a:rPr>
                <a:t>2022 год</a:t>
              </a:r>
            </a:p>
          </p:txBody>
        </p:sp>
        <p:sp>
          <p:nvSpPr>
            <p:cNvPr id="415" name="Прямоугольник: скругленные верхние углы 192">
              <a:extLst>
                <a:ext uri="{FF2B5EF4-FFF2-40B4-BE49-F238E27FC236}">
                  <a16:creationId xmlns:a16="http://schemas.microsoft.com/office/drawing/2014/main" xmlns="" id="{EAF1828C-FADE-4F86-9522-726B64016886}"/>
                </a:ext>
              </a:extLst>
            </p:cNvPr>
            <p:cNvSpPr/>
            <p:nvPr/>
          </p:nvSpPr>
          <p:spPr bwMode="auto">
            <a:xfrm>
              <a:off x="1080033" y="1185044"/>
              <a:ext cx="420054" cy="352573"/>
            </a:xfrm>
            <a:prstGeom prst="round2SameRect">
              <a:avLst/>
            </a:prstGeom>
            <a:solidFill>
              <a:srgbClr val="00518E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6" name="Прямоугольник 415">
              <a:extLst>
                <a:ext uri="{FF2B5EF4-FFF2-40B4-BE49-F238E27FC236}">
                  <a16:creationId xmlns:a16="http://schemas.microsoft.com/office/drawing/2014/main" xmlns="" id="{FA248359-7FB8-40AC-A9D5-27E1E3BAC89E}"/>
                </a:ext>
              </a:extLst>
            </p:cNvPr>
            <p:cNvSpPr/>
            <p:nvPr/>
          </p:nvSpPr>
          <p:spPr>
            <a:xfrm>
              <a:off x="1030378" y="1017562"/>
              <a:ext cx="526101" cy="136627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200" b="1" dirty="0" smtClean="0">
                  <a:solidFill>
                    <a:srgbClr val="00518E"/>
                  </a:solidFill>
                </a:rPr>
                <a:t>198,9</a:t>
              </a:r>
              <a:endParaRPr lang="ru-RU" sz="900" dirty="0">
                <a:solidFill>
                  <a:srgbClr val="00518E"/>
                </a:solidFill>
              </a:endParaRPr>
            </a:p>
          </p:txBody>
        </p:sp>
        <p:sp>
          <p:nvSpPr>
            <p:cNvPr id="417" name="Прямоугольник: скругленные верхние углы 194">
              <a:extLst>
                <a:ext uri="{FF2B5EF4-FFF2-40B4-BE49-F238E27FC236}">
                  <a16:creationId xmlns:a16="http://schemas.microsoft.com/office/drawing/2014/main" xmlns="" id="{13D51EFA-64CB-4EEB-BB20-B4A039302D1E}"/>
                </a:ext>
              </a:extLst>
            </p:cNvPr>
            <p:cNvSpPr/>
            <p:nvPr/>
          </p:nvSpPr>
          <p:spPr bwMode="auto">
            <a:xfrm rot="10800000">
              <a:off x="267694" y="1544683"/>
              <a:ext cx="409613" cy="120692"/>
            </a:xfrm>
            <a:prstGeom prst="round2Same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18" name="TextBox 417">
              <a:extLst>
                <a:ext uri="{FF2B5EF4-FFF2-40B4-BE49-F238E27FC236}">
                  <a16:creationId xmlns:a16="http://schemas.microsoft.com/office/drawing/2014/main" xmlns="" id="{0512E724-7F46-45C0-A9B0-4C647851E467}"/>
                </a:ext>
              </a:extLst>
            </p:cNvPr>
            <p:cNvSpPr txBox="1"/>
            <p:nvPr/>
          </p:nvSpPr>
          <p:spPr>
            <a:xfrm>
              <a:off x="189560" y="1526688"/>
              <a:ext cx="563988" cy="15100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algn="ctr" defTabSz="367194">
                <a:defRPr/>
              </a:pPr>
              <a:r>
                <a:rPr lang="ru-RU" sz="800" b="1" i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2019 </a:t>
              </a:r>
              <a:r>
                <a:rPr lang="ru-RU" sz="800" b="1" i="1" dirty="0">
                  <a:solidFill>
                    <a:schemeClr val="tx2">
                      <a:lumMod val="75000"/>
                      <a:lumOff val="25000"/>
                    </a:schemeClr>
                  </a:solidFill>
                  <a:ea typeface="+mn-lt"/>
                  <a:cs typeface="Arial" pitchFamily="34" charset="0"/>
                </a:rPr>
                <a:t>год</a:t>
              </a:r>
            </a:p>
          </p:txBody>
        </p:sp>
        <p:sp>
          <p:nvSpPr>
            <p:cNvPr id="419" name="Прямоугольник: скругленные верхние углы 196">
              <a:extLst>
                <a:ext uri="{FF2B5EF4-FFF2-40B4-BE49-F238E27FC236}">
                  <a16:creationId xmlns:a16="http://schemas.microsoft.com/office/drawing/2014/main" xmlns="" id="{59BC2F08-B6EC-4CD3-84F8-0D3BDDF0D815}"/>
                </a:ext>
              </a:extLst>
            </p:cNvPr>
            <p:cNvSpPr/>
            <p:nvPr/>
          </p:nvSpPr>
          <p:spPr bwMode="auto">
            <a:xfrm>
              <a:off x="267695" y="1261265"/>
              <a:ext cx="409613" cy="272936"/>
            </a:xfrm>
            <a:prstGeom prst="round2SameRect">
              <a:avLst/>
            </a:prstGeom>
            <a:solidFill>
              <a:schemeClr val="tx2">
                <a:lumMod val="25000"/>
                <a:lumOff val="7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0" name="Прямоугольник 419">
              <a:extLst>
                <a:ext uri="{FF2B5EF4-FFF2-40B4-BE49-F238E27FC236}">
                  <a16:creationId xmlns:a16="http://schemas.microsoft.com/office/drawing/2014/main" xmlns="" id="{E11AF1C2-BE9A-4804-BAA1-7F4486BB4079}"/>
                </a:ext>
              </a:extLst>
            </p:cNvPr>
            <p:cNvSpPr/>
            <p:nvPr/>
          </p:nvSpPr>
          <p:spPr>
            <a:xfrm>
              <a:off x="199830" y="1097668"/>
              <a:ext cx="546085" cy="141121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lnSpc>
                  <a:spcPts val="750"/>
                </a:lnSpc>
              </a:pPr>
              <a:r>
                <a:rPr lang="ru-RU" sz="1000" b="1" dirty="0" smtClean="0"/>
                <a:t>191,3</a:t>
              </a:r>
              <a:endParaRPr lang="ru-RU" sz="800" dirty="0"/>
            </a:p>
          </p:txBody>
        </p:sp>
        <p:sp>
          <p:nvSpPr>
            <p:cNvPr id="421" name="Прямоугольник 420">
              <a:extLst>
                <a:ext uri="{FF2B5EF4-FFF2-40B4-BE49-F238E27FC236}">
                  <a16:creationId xmlns:a16="http://schemas.microsoft.com/office/drawing/2014/main" xmlns="" id="{1950F2B2-4084-4E82-A89B-93C74F5B556B}"/>
                </a:ext>
              </a:extLst>
            </p:cNvPr>
            <p:cNvSpPr/>
            <p:nvPr/>
          </p:nvSpPr>
          <p:spPr>
            <a:xfrm>
              <a:off x="676806" y="856730"/>
              <a:ext cx="322910" cy="172581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ru-RU" sz="1000" b="1" dirty="0" smtClean="0">
                  <a:solidFill>
                    <a:schemeClr val="accent2"/>
                  </a:solidFill>
                </a:rPr>
                <a:t>+7,6</a:t>
              </a:r>
              <a:endParaRPr lang="ru-RU" sz="1000" b="1" dirty="0">
                <a:solidFill>
                  <a:schemeClr val="accent2"/>
                </a:solidFill>
              </a:endParaRPr>
            </a:p>
          </p:txBody>
        </p:sp>
        <p:sp>
          <p:nvSpPr>
            <p:cNvPr id="422" name="Стрелка: шеврон 199">
              <a:extLst>
                <a:ext uri="{FF2B5EF4-FFF2-40B4-BE49-F238E27FC236}">
                  <a16:creationId xmlns:a16="http://schemas.microsoft.com/office/drawing/2014/main" xmlns="" id="{8F3BE025-E957-4B28-9005-7DBFFB792D0E}"/>
                </a:ext>
              </a:extLst>
            </p:cNvPr>
            <p:cNvSpPr/>
            <p:nvPr/>
          </p:nvSpPr>
          <p:spPr bwMode="auto">
            <a:xfrm rot="16200000">
              <a:off x="826873" y="1201942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3" name="Стрелка: шеврон 200">
              <a:extLst>
                <a:ext uri="{FF2B5EF4-FFF2-40B4-BE49-F238E27FC236}">
                  <a16:creationId xmlns:a16="http://schemas.microsoft.com/office/drawing/2014/main" xmlns="" id="{945470E1-C369-4C08-A729-04BD781DD9D2}"/>
                </a:ext>
              </a:extLst>
            </p:cNvPr>
            <p:cNvSpPr/>
            <p:nvPr/>
          </p:nvSpPr>
          <p:spPr bwMode="auto">
            <a:xfrm rot="16200000">
              <a:off x="826873" y="1108149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424" name="Стрелка: шеврон 201">
              <a:extLst>
                <a:ext uri="{FF2B5EF4-FFF2-40B4-BE49-F238E27FC236}">
                  <a16:creationId xmlns:a16="http://schemas.microsoft.com/office/drawing/2014/main" xmlns="" id="{D5ECB0E2-8C8B-4461-9725-E4D21C35DC28}"/>
                </a:ext>
              </a:extLst>
            </p:cNvPr>
            <p:cNvSpPr/>
            <p:nvPr/>
          </p:nvSpPr>
          <p:spPr bwMode="auto">
            <a:xfrm rot="16200000">
              <a:off x="826873" y="1014357"/>
              <a:ext cx="109688" cy="98123"/>
            </a:xfrm>
            <a:prstGeom prst="chevron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vert="horz" wrap="none" lIns="48986" tIns="24493" rIns="48986" bIns="24493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ru-RU" sz="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425" name="Рисунок 424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002" y="1892136"/>
            <a:ext cx="339713" cy="339713"/>
          </a:xfrm>
          <a:prstGeom prst="rect">
            <a:avLst/>
          </a:prstGeom>
        </p:spPr>
      </p:pic>
      <p:sp>
        <p:nvSpPr>
          <p:cNvPr id="428" name="Нашивка 427"/>
          <p:cNvSpPr/>
          <p:nvPr/>
        </p:nvSpPr>
        <p:spPr>
          <a:xfrm>
            <a:off x="2132789" y="2694270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621,4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9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3010013" y="2379770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7,2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0" name="Нашивка 429"/>
          <p:cNvSpPr/>
          <p:nvPr/>
        </p:nvSpPr>
        <p:spPr>
          <a:xfrm>
            <a:off x="3973138" y="2676182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568,7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1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4850362" y="2361682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74,1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2" name="Нашивка 431"/>
          <p:cNvSpPr/>
          <p:nvPr/>
        </p:nvSpPr>
        <p:spPr>
          <a:xfrm>
            <a:off x="5839502" y="2721234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1 114,0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3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6716726" y="2406734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87,8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6" name="Нашивка 435"/>
          <p:cNvSpPr/>
          <p:nvPr/>
        </p:nvSpPr>
        <p:spPr>
          <a:xfrm>
            <a:off x="7618611" y="2707985"/>
            <a:ext cx="1068783" cy="469557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b="1" i="1" dirty="0" smtClean="0">
                <a:solidFill>
                  <a:schemeClr val="bg1"/>
                </a:solidFill>
                <a:cs typeface="Arial" charset="0"/>
              </a:rPr>
              <a:t>4 080,5</a:t>
            </a:r>
            <a:endParaRPr lang="ru-RU" sz="160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37" name="Oval 51">
            <a:extLst>
              <a:ext uri="{FF2B5EF4-FFF2-40B4-BE49-F238E27FC236}">
                <a16:creationId xmlns="" xmlns:a16="http://schemas.microsoft.com/office/drawing/2014/main" id="{DA3A7F9F-9155-4236-887C-732458EBDDC0}"/>
              </a:ext>
            </a:extLst>
          </p:cNvPr>
          <p:cNvSpPr/>
          <p:nvPr/>
        </p:nvSpPr>
        <p:spPr bwMode="auto">
          <a:xfrm>
            <a:off x="8495835" y="2393485"/>
            <a:ext cx="638696" cy="62899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 vert="horz" wrap="none" lIns="0" tIns="0" rIns="0" bIns="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</a:rPr>
              <a:t>+ 168,4</a:t>
            </a:r>
            <a:endParaRPr lang="en-US" sz="1600" b="1" dirty="0">
              <a:solidFill>
                <a:srgbClr val="00518E"/>
              </a:solidFill>
            </a:endParaRPr>
          </a:p>
        </p:txBody>
      </p:sp>
      <p:sp>
        <p:nvSpPr>
          <p:cNvPr id="438" name="Прямоугольник 437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104223" y="3726538"/>
            <a:ext cx="8988367" cy="662125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439" name="Title 4"/>
          <p:cNvSpPr txBox="1">
            <a:spLocks/>
          </p:cNvSpPr>
          <p:nvPr/>
        </p:nvSpPr>
        <p:spPr>
          <a:xfrm>
            <a:off x="234894" y="3564998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600" dirty="0" smtClean="0">
                <a:solidFill>
                  <a:srgbClr val="00518E"/>
                </a:solidFill>
                <a:latin typeface="+mn-lt"/>
                <a:ea typeface="+mn-ea"/>
                <a:cs typeface="+mn-cs"/>
              </a:rPr>
              <a:t>УРОЖАЙНОСТЬ</a:t>
            </a:r>
            <a:endParaRPr lang="ru-RU" sz="1600" dirty="0">
              <a:solidFill>
                <a:srgbClr val="00518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40" name="Прямоугольник 439"/>
          <p:cNvSpPr/>
          <p:nvPr/>
        </p:nvSpPr>
        <p:spPr>
          <a:xfrm>
            <a:off x="234893" y="3797412"/>
            <a:ext cx="864100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Благодаря современным методам селекции и применения современных </a:t>
            </a:r>
            <a:r>
              <a:rPr lang="ru-RU" sz="14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агротехнологий</a:t>
            </a:r>
            <a:r>
              <a:rPr lang="ru-RU" sz="14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была повышена средняя урожайность овощных культур с 260,5 ц/га до 271,4 ц/га.</a:t>
            </a:r>
            <a:endParaRPr lang="ru-RU" sz="1400" b="1" i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442" name="Прямоугольник 441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-16604" y="4487903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1" name="TextBox 440"/>
          <p:cNvSpPr txBox="1"/>
          <p:nvPr/>
        </p:nvSpPr>
        <p:spPr>
          <a:xfrm>
            <a:off x="286710" y="4569489"/>
            <a:ext cx="8847821" cy="447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7748" tIns="38875" rIns="77748" bIns="38875">
            <a:spAutoFit/>
          </a:bodyPr>
          <a:lstStyle/>
          <a:p>
            <a:pPr algn="just">
              <a:buClr>
                <a:srgbClr val="25783C"/>
              </a:buClr>
            </a:pP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у по данным </a:t>
            </a:r>
            <a:r>
              <a:rPr lang="ru-RU" sz="1200" b="1" i="1" dirty="0" err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иматов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ластей </a:t>
            </a:r>
            <a:r>
              <a:rPr lang="ru-RU" sz="1200" b="1" i="1" u="sng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ощные культуры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ы на площади 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3,5 тыс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га. </a:t>
            </a:r>
            <a:endParaRPr lang="ru-RU" sz="1200" b="1" i="1" dirty="0" smtClean="0">
              <a:solidFill>
                <a:srgbClr val="0051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>
                <a:srgbClr val="25783C"/>
              </a:buClr>
            </a:pPr>
            <a:r>
              <a:rPr lang="ru-RU" sz="1200" b="1" i="1" u="sng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фель</a:t>
            </a:r>
            <a:r>
              <a:rPr lang="ru-RU" sz="1200" b="1" i="1" dirty="0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сеян на </a:t>
            </a:r>
            <a:r>
              <a:rPr lang="ru-RU" sz="1200" b="1" i="1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щади </a:t>
            </a:r>
            <a:r>
              <a:rPr lang="ru-RU" sz="1200" b="1" i="1" smtClean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7,6 </a:t>
            </a:r>
            <a:r>
              <a:rPr lang="ru-RU" sz="1200" b="1" i="1" dirty="0">
                <a:solidFill>
                  <a:srgbClr val="0051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га.</a:t>
            </a:r>
            <a:endParaRPr lang="en-US" sz="1200" b="1" i="1" dirty="0">
              <a:solidFill>
                <a:srgbClr val="00518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222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Нашивка 97"/>
          <p:cNvSpPr/>
          <p:nvPr/>
        </p:nvSpPr>
        <p:spPr>
          <a:xfrm>
            <a:off x="7251168" y="452795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ОВОЩИ ЗАКРЫТОГО ГРУНТА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Нашивка 61"/>
          <p:cNvSpPr/>
          <p:nvPr/>
        </p:nvSpPr>
        <p:spPr>
          <a:xfrm>
            <a:off x="134419" y="611474"/>
            <a:ext cx="5445693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ПРОИЗВОДСТВО ОВОЩНЫХ КУЛЬТУР ЗАКРЫТОГО ГРУНТА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5" name="object 10"/>
          <p:cNvSpPr txBox="1"/>
          <p:nvPr/>
        </p:nvSpPr>
        <p:spPr>
          <a:xfrm>
            <a:off x="7090078" y="12577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</a:t>
            </a:r>
            <a:r>
              <a:rPr lang="ru-RU" sz="1200" b="1" i="1" spc="-10" dirty="0" smtClean="0">
                <a:latin typeface="Arial Narrow"/>
                <a:cs typeface="Arial Narrow"/>
              </a:rPr>
              <a:t>0</a:t>
            </a:r>
            <a:r>
              <a:rPr lang="ru-RU" sz="1200" b="1" i="1" dirty="0" smtClean="0">
                <a:latin typeface="Arial Narrow"/>
                <a:cs typeface="Arial Narrow"/>
              </a:rPr>
              <a:t>22 год 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97" name="Нашивка 96"/>
          <p:cNvSpPr/>
          <p:nvPr/>
        </p:nvSpPr>
        <p:spPr>
          <a:xfrm>
            <a:off x="6414524" y="826814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67" name="object 10"/>
          <p:cNvSpPr txBox="1"/>
          <p:nvPr/>
        </p:nvSpPr>
        <p:spPr>
          <a:xfrm>
            <a:off x="6207734" y="819799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,2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га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99" name="object 10"/>
          <p:cNvSpPr txBox="1"/>
          <p:nvPr/>
        </p:nvSpPr>
        <p:spPr>
          <a:xfrm>
            <a:off x="7144866" y="502841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7,5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2" name="Нашивка 131"/>
          <p:cNvSpPr/>
          <p:nvPr/>
        </p:nvSpPr>
        <p:spPr>
          <a:xfrm>
            <a:off x="251520" y="1407732"/>
            <a:ext cx="3861517" cy="1668074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400" b="1" i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33" name="Title 4"/>
          <p:cNvSpPr txBox="1">
            <a:spLocks/>
          </p:cNvSpPr>
          <p:nvPr/>
        </p:nvSpPr>
        <p:spPr>
          <a:xfrm>
            <a:off x="938161" y="1275793"/>
            <a:ext cx="265856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ПРОМЫШЛЕННЫЕ ТЕПЛИЦЫ 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3663944" y="1442367"/>
            <a:ext cx="346570" cy="28469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 га</a:t>
            </a:r>
            <a:endParaRPr lang="ru-RU" sz="1200" b="1" i="1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760808" y="1974405"/>
            <a:ext cx="824019" cy="811806"/>
            <a:chOff x="851279" y="2119093"/>
            <a:chExt cx="694334" cy="691118"/>
          </a:xfrm>
        </p:grpSpPr>
        <p:sp>
          <p:nvSpPr>
            <p:cNvPr id="116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17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735849" y="2178723"/>
            <a:ext cx="923448" cy="3693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187,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9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44328" y="2682117"/>
            <a:ext cx="1044097" cy="249673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9 год</a:t>
            </a:r>
            <a:r>
              <a:rPr lang="ru-RU" sz="9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sz="9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3" name="Группа 122"/>
          <p:cNvGrpSpPr/>
          <p:nvPr/>
        </p:nvGrpSpPr>
        <p:grpSpPr>
          <a:xfrm>
            <a:off x="2473460" y="1563638"/>
            <a:ext cx="1018420" cy="1080259"/>
            <a:chOff x="851279" y="2119093"/>
            <a:chExt cx="694334" cy="691118"/>
          </a:xfrm>
        </p:grpSpPr>
        <p:sp>
          <p:nvSpPr>
            <p:cNvPr id="124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6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00518E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7" name="Прямоугольник 126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2565258" y="1875968"/>
            <a:ext cx="919845" cy="46166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</a:rPr>
              <a:t>218,9</a:t>
            </a:r>
            <a:endParaRPr lang="ru-RU" sz="2400" b="1" dirty="0">
              <a:solidFill>
                <a:schemeClr val="tx2"/>
              </a:solidFill>
            </a:endParaRPr>
          </a:p>
        </p:txBody>
      </p:sp>
      <p:sp>
        <p:nvSpPr>
          <p:cNvPr id="128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444528" y="2531482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00518E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2 год </a:t>
            </a:r>
          </a:p>
        </p:txBody>
      </p:sp>
      <p:sp>
        <p:nvSpPr>
          <p:cNvPr id="129" name="Штриховая стрелка вправо 128"/>
          <p:cNvSpPr/>
          <p:nvPr/>
        </p:nvSpPr>
        <p:spPr bwMode="auto">
          <a:xfrm rot="20420173">
            <a:off x="1626240" y="2026510"/>
            <a:ext cx="837416" cy="304425"/>
          </a:xfrm>
          <a:prstGeom prst="stripedRightArrow">
            <a:avLst/>
          </a:prstGeom>
          <a:solidFill>
            <a:srgbClr val="00518E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1869356" y="1600893"/>
            <a:ext cx="452368" cy="2750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/>
              <a:t>31,7</a:t>
            </a:r>
            <a:endParaRPr lang="ru-RU" sz="1200" b="1" i="1" dirty="0"/>
          </a:p>
        </p:txBody>
      </p:sp>
      <p:sp>
        <p:nvSpPr>
          <p:cNvPr id="135" name="Chevron2">
            <a:extLst>
              <a:ext uri="{FF2B5EF4-FFF2-40B4-BE49-F238E27FC236}">
                <a16:creationId xmlns:a16="http://schemas.microsoft.com/office/drawing/2014/main" xmlns="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419738" y="1432967"/>
            <a:ext cx="448402" cy="157872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5027179" y="1475415"/>
            <a:ext cx="40005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1. ИНВЕСТИЦИОННОЕ СУБСИДИРОВАНИЕ</a:t>
            </a:r>
            <a:endParaRPr lang="ru-RU" sz="1400" b="1" dirty="0">
              <a:cs typeface="Arial" charset="0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5035946" y="1773906"/>
            <a:ext cx="4000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cs typeface="Arial" charset="0"/>
              </a:rPr>
              <a:t>2</a:t>
            </a:r>
            <a:r>
              <a:rPr lang="ru-RU" sz="1400" b="1" dirty="0" smtClean="0">
                <a:cs typeface="Arial" charset="0"/>
              </a:rPr>
              <a:t>. </a:t>
            </a:r>
            <a:r>
              <a:rPr lang="ru-RU" sz="1400" b="1" dirty="0">
                <a:cs typeface="Arial" charset="0"/>
              </a:rPr>
              <a:t>СУБСИДИРОВАНИЕ </a:t>
            </a:r>
            <a:r>
              <a:rPr lang="ru-RU" sz="1400" b="1" dirty="0" smtClean="0">
                <a:cs typeface="Arial" charset="0"/>
              </a:rPr>
              <a:t>СТОИМОСТИ УДОБРЕНИЙ, СЗР, ПОДАЧИ ПОЛИВНОЙ ВОДЫ, СЕМЯН ОГУРЦОВ И ТОМАТОВ </a:t>
            </a:r>
            <a:endParaRPr lang="ru-RU" sz="1400" b="1" dirty="0">
              <a:cs typeface="Arial" charset="0"/>
            </a:endParaRPr>
          </a:p>
        </p:txBody>
      </p:sp>
      <p:sp>
        <p:nvSpPr>
          <p:cNvPr id="138" name="Прямоугольник 137"/>
          <p:cNvSpPr/>
          <p:nvPr/>
        </p:nvSpPr>
        <p:spPr>
          <a:xfrm>
            <a:off x="5044920" y="2513479"/>
            <a:ext cx="4000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cs typeface="Arial" charset="0"/>
              </a:rPr>
              <a:t>3. КРЕДИТОВАНИЕ СТРОИТЕЛЬСТВА ТЕПЛИЦ ПО ЛИНИИ АКК</a:t>
            </a:r>
            <a:endParaRPr lang="ru-RU" sz="1400" b="1" dirty="0">
              <a:cs typeface="Arial" charset="0"/>
            </a:endParaRPr>
          </a:p>
        </p:txBody>
      </p:sp>
      <p:sp>
        <p:nvSpPr>
          <p:cNvPr id="139" name="Прямоугольник 138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244395" y="4132135"/>
            <a:ext cx="3868642" cy="671863"/>
          </a:xfrm>
          <a:prstGeom prst="rect">
            <a:avLst/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40" name="Title 4"/>
          <p:cNvSpPr txBox="1">
            <a:spLocks/>
          </p:cNvSpPr>
          <p:nvPr/>
        </p:nvSpPr>
        <p:spPr>
          <a:xfrm>
            <a:off x="451645" y="3959947"/>
            <a:ext cx="3454142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ПЛАНИРУЕТСЯ</a:t>
            </a:r>
            <a:endParaRPr lang="ru-RU" sz="135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Прямоугольник 140">
            <a:extLst>
              <a:ext uri="{FF2B5EF4-FFF2-40B4-BE49-F238E27FC236}">
                <a16:creationId xmlns="" xmlns:a16="http://schemas.microsoft.com/office/drawing/2014/main" id="{C3AB00F7-FF8F-413E-BF15-320F4ACBFC88}"/>
              </a:ext>
            </a:extLst>
          </p:cNvPr>
          <p:cNvSpPr/>
          <p:nvPr/>
        </p:nvSpPr>
        <p:spPr>
          <a:xfrm>
            <a:off x="107504" y="4292927"/>
            <a:ext cx="422358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i="1" dirty="0" smtClean="0">
                <a:solidFill>
                  <a:schemeClr val="tx1">
                    <a:lumMod val="90000"/>
                    <a:lumOff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ВНЕДРИТЬ СУБСИДИРОВАНИЕ РАСХОДОВ НА ЭЛЕКТРОЭНЕРГИЮ И ГАЗ В ПЕРИОД МЕЖСЕЗОНЬЯ</a:t>
            </a:r>
            <a:endParaRPr lang="ru-RU" sz="1200" b="1" i="1" dirty="0">
              <a:solidFill>
                <a:schemeClr val="tx1">
                  <a:lumMod val="90000"/>
                  <a:lumOff val="1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43" name="Chevron2">
            <a:extLst>
              <a:ext uri="{FF2B5EF4-FFF2-40B4-BE49-F238E27FC236}">
                <a16:creationId xmlns:a16="http://schemas.microsoft.com/office/drawing/2014/main" xmlns="" id="{2B353C84-BCC0-44B3-BBE3-8BD9A6A92651}"/>
              </a:ext>
            </a:extLst>
          </p:cNvPr>
          <p:cNvSpPr>
            <a:spLocks noChangeAspect="1"/>
          </p:cNvSpPr>
          <p:nvPr/>
        </p:nvSpPr>
        <p:spPr bwMode="auto">
          <a:xfrm rot="10800000" flipH="1">
            <a:off x="4388745" y="4272259"/>
            <a:ext cx="242768" cy="391613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13000">
                <a:schemeClr val="accent5">
                  <a:lumMod val="75000"/>
                </a:schemeClr>
              </a:gs>
              <a:gs pos="39000">
                <a:schemeClr val="accent6"/>
              </a:gs>
              <a:gs pos="100000">
                <a:srgbClr val="FFC000"/>
              </a:gs>
            </a:gsLst>
            <a:lin ang="16200000" scaled="1"/>
          </a:gra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 err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44" name="Прямоугольный треугольник 143"/>
          <p:cNvSpPr/>
          <p:nvPr/>
        </p:nvSpPr>
        <p:spPr bwMode="auto">
          <a:xfrm rot="5400000">
            <a:off x="5154862" y="3976647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5" name="Загнутый угол 144"/>
          <p:cNvSpPr/>
          <p:nvPr/>
        </p:nvSpPr>
        <p:spPr bwMode="auto">
          <a:xfrm>
            <a:off x="5027179" y="4007789"/>
            <a:ext cx="4000550" cy="746803"/>
          </a:xfrm>
          <a:prstGeom prst="foldedCorner">
            <a:avLst>
              <a:gd name="adj" fmla="val 31059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6" name="Загнутый угол 145"/>
          <p:cNvSpPr/>
          <p:nvPr/>
        </p:nvSpPr>
        <p:spPr bwMode="auto">
          <a:xfrm rot="10800000">
            <a:off x="5027175" y="4007788"/>
            <a:ext cx="784533" cy="613474"/>
          </a:xfrm>
          <a:prstGeom prst="foldedCorner">
            <a:avLst>
              <a:gd name="adj" fmla="val 35607"/>
            </a:avLst>
          </a:prstGeom>
          <a:pattFill prst="pct10">
            <a:fgClr>
              <a:srgbClr val="00518E"/>
            </a:fgClr>
            <a:bgClr>
              <a:schemeClr val="bg1"/>
            </a:bgClr>
          </a:patt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7" name="Прямоугольник 146">
            <a:extLst>
              <a:ext uri="{FF2B5EF4-FFF2-40B4-BE49-F238E27FC236}">
                <a16:creationId xmlns="" xmlns:a16="http://schemas.microsoft.com/office/drawing/2014/main" id="{F7582AA7-EDB8-4B9B-B3E7-EA37BC6CAFCD}"/>
              </a:ext>
            </a:extLst>
          </p:cNvPr>
          <p:cNvSpPr/>
          <p:nvPr/>
        </p:nvSpPr>
        <p:spPr>
          <a:xfrm>
            <a:off x="5100670" y="4070429"/>
            <a:ext cx="3927059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500"/>
              </a:lnSpc>
            </a:pP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Утвержден </a:t>
            </a:r>
            <a:r>
              <a:rPr lang="ru-RU" sz="1200" b="1" i="1" dirty="0" err="1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Нацстандарт</a:t>
            </a:r>
            <a:r>
              <a:rPr lang="ru-RU" sz="1200" b="1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sz="1200" b="1" i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для фермерских теплиц (СТ РК 3834-2023), который вступил в силу с 1 мая 2023 года</a:t>
            </a:r>
          </a:p>
        </p:txBody>
      </p:sp>
      <p:sp>
        <p:nvSpPr>
          <p:cNvPr id="148" name="Прямоугольный треугольник 147"/>
          <p:cNvSpPr/>
          <p:nvPr/>
        </p:nvSpPr>
        <p:spPr bwMode="auto">
          <a:xfrm rot="5400000">
            <a:off x="5081368" y="3953598"/>
            <a:ext cx="153025" cy="261408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1" y="3231104"/>
            <a:ext cx="9143999" cy="637364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1869356" y="3227176"/>
            <a:ext cx="7471251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 2020 ГОДА ПО ПРОГРАММЕ «АГРОБИЗНЕС» ПРОФИНАНСИРОВАНО 14 ТЕПЛИЦ С ОБЩЕЙ ПЛОЩАДЬЮ 51 ГА НА СУММУ 16,7 МЛРД ТЕНГЕ.</a:t>
            </a:r>
            <a:endParaRPr lang="ru-RU" sz="1400" b="1" dirty="0">
              <a:solidFill>
                <a:srgbClr val="00518E"/>
              </a:solidFill>
            </a:endParaRPr>
          </a:p>
        </p:txBody>
      </p:sp>
      <p:pic>
        <p:nvPicPr>
          <p:cNvPr id="151" name="Рисунок 150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7" t="31823" r="23179" b="32466"/>
          <a:stretch/>
        </p:blipFill>
        <p:spPr>
          <a:xfrm>
            <a:off x="0" y="3221766"/>
            <a:ext cx="2444528" cy="646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78759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-187484" y="-72457"/>
            <a:ext cx="9577064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КОМПЛЕКСНЫЙ ПЛАН ПО СТРОИТЕЛЬСТВУ И </a:t>
            </a: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МОДЕРНИЗАЦИИ ОВОЩЕХРАНИЛИЩ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16951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Нашивка 153"/>
          <p:cNvSpPr/>
          <p:nvPr/>
        </p:nvSpPr>
        <p:spPr>
          <a:xfrm>
            <a:off x="4854363" y="3376010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5" name="Нашивка 154"/>
          <p:cNvSpPr/>
          <p:nvPr/>
        </p:nvSpPr>
        <p:spPr>
          <a:xfrm>
            <a:off x="205875" y="3394342"/>
            <a:ext cx="3758194" cy="552164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rgbClr val="00518E"/>
                </a:solidFill>
                <a:cs typeface="Arial" charset="0"/>
              </a:rPr>
              <a:t>ПЛАНИРУЕТСЯ ВВОД НОВЫХ МОЩНОСТЕЙ ХРАНЕНИЯ ПЛОДООВОЩНОЙ ПРОДУКЦИИ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57" name="Нашивка 156"/>
          <p:cNvSpPr/>
          <p:nvPr/>
        </p:nvSpPr>
        <p:spPr>
          <a:xfrm>
            <a:off x="3891657" y="3390553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58" name="object 10"/>
          <p:cNvSpPr txBox="1"/>
          <p:nvPr/>
        </p:nvSpPr>
        <p:spPr>
          <a:xfrm>
            <a:off x="3679391" y="3407456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87,3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159" name="object 10"/>
          <p:cNvSpPr txBox="1"/>
          <p:nvPr/>
        </p:nvSpPr>
        <p:spPr>
          <a:xfrm>
            <a:off x="4699120" y="3388038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62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60" name="object 10"/>
          <p:cNvSpPr txBox="1"/>
          <p:nvPr/>
        </p:nvSpPr>
        <p:spPr>
          <a:xfrm>
            <a:off x="3588015" y="3972966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3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65" name="Прямоугольник: скругленные углы 340">
            <a:extLst>
              <a:ext uri="{FF2B5EF4-FFF2-40B4-BE49-F238E27FC236}">
                <a16:creationId xmlns="" xmlns:a16="http://schemas.microsoft.com/office/drawing/2014/main" id="{6EB5B1F2-A445-458E-ADB5-B8FCBCACD17B}"/>
              </a:ext>
            </a:extLst>
          </p:cNvPr>
          <p:cNvSpPr/>
          <p:nvPr/>
        </p:nvSpPr>
        <p:spPr bwMode="auto">
          <a:xfrm>
            <a:off x="57586" y="4614912"/>
            <a:ext cx="9005825" cy="478979"/>
          </a:xfrm>
          <a:prstGeom prst="roundRect">
            <a:avLst>
              <a:gd name="adj" fmla="val 4336"/>
            </a:avLst>
          </a:prstGeom>
          <a:noFill/>
          <a:ln w="19050">
            <a:solidFill>
              <a:srgbClr val="C00000"/>
            </a:solidFill>
            <a:prstDash val="sysDot"/>
            <a:round/>
            <a:headEnd/>
            <a:tailEnd/>
          </a:ln>
          <a:effectLst/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TextBox 167">
            <a:extLst>
              <a:ext uri="{FF2B5EF4-FFF2-40B4-BE49-F238E27FC236}">
                <a16:creationId xmlns:a16="http://schemas.microsoft.com/office/drawing/2014/main" xmlns="" xmlns:lc="http://schemas.openxmlformats.org/drawingml/2006/lockedCanvas" id="{2AE6F9CA-9CF4-40CA-BF0F-489F4CE7346A}"/>
              </a:ext>
            </a:extLst>
          </p:cNvPr>
          <p:cNvSpPr txBox="1"/>
          <p:nvPr/>
        </p:nvSpPr>
        <p:spPr>
          <a:xfrm>
            <a:off x="282772" y="4723708"/>
            <a:ext cx="8648379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i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ПОВЫШАЕТСЯ НОРМАТИВА ВОЗМЕЩЕНИЯ ЗАТРАТ С 25% ДО 40-50% В ЗАВИСИМОСТИ ОТ ПРИМЕНЯЕМОЙ ТЕХНОЛОГИИ ХРАНЕНИЯ.</a:t>
            </a:r>
            <a:endParaRPr lang="ru-RU" sz="1200" b="1" i="1" dirty="0">
              <a:solidFill>
                <a:srgbClr val="000000"/>
              </a:solidFill>
              <a:ea typeface="+mn-lt"/>
              <a:cs typeface="Arial" pitchFamily="34" charset="0"/>
            </a:endParaRP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xmlns="" id="{E0D534DE-2D5F-41BB-B3A6-B980B598BEA9}"/>
              </a:ext>
            </a:extLst>
          </p:cNvPr>
          <p:cNvSpPr/>
          <p:nvPr/>
        </p:nvSpPr>
        <p:spPr>
          <a:xfrm>
            <a:off x="3619138" y="1392138"/>
            <a:ext cx="5345350" cy="125076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16" name="Title 4"/>
          <p:cNvSpPr txBox="1">
            <a:spLocks/>
          </p:cNvSpPr>
          <p:nvPr/>
        </p:nvSpPr>
        <p:spPr>
          <a:xfrm>
            <a:off x="6958024" y="1693070"/>
            <a:ext cx="1820097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186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509714" y="1518412"/>
            <a:ext cx="2852545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580 </a:t>
            </a:r>
            <a:r>
              <a:rPr lang="ru-RU" sz="16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овощехранилищ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3513649" y="1202573"/>
            <a:ext cx="2505328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2000" b="1" dirty="0" smtClean="0">
                <a:solidFill>
                  <a:srgbClr val="00518E"/>
                </a:solidFill>
              </a:rPr>
              <a:t>ВСЕГО</a:t>
            </a:r>
            <a:endParaRPr lang="ru-RU" sz="2000" b="1" dirty="0">
              <a:solidFill>
                <a:srgbClr val="00518E"/>
              </a:solidFill>
            </a:endParaRPr>
          </a:p>
        </p:txBody>
      </p:sp>
      <p:sp>
        <p:nvSpPr>
          <p:cNvPr id="119" name="Нашивка 118"/>
          <p:cNvSpPr/>
          <p:nvPr/>
        </p:nvSpPr>
        <p:spPr>
          <a:xfrm>
            <a:off x="6634456" y="1098522"/>
            <a:ext cx="2206722" cy="452030"/>
          </a:xfrm>
          <a:prstGeom prst="chevron">
            <a:avLst>
              <a:gd name="adj" fmla="val 23530"/>
            </a:avLst>
          </a:prstGeom>
          <a:solidFill>
            <a:srgbClr val="00518E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:a16="http://schemas.microsoft.com/office/drawing/2014/main" xmlns="" id="{EE5A4A53-5CB7-4BAF-9630-96F62B4BCD33}"/>
              </a:ext>
            </a:extLst>
          </p:cNvPr>
          <p:cNvSpPr/>
          <p:nvPr/>
        </p:nvSpPr>
        <p:spPr>
          <a:xfrm>
            <a:off x="6841795" y="1131014"/>
            <a:ext cx="19756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1 822 </a:t>
            </a:r>
            <a:r>
              <a:rPr lang="ru-RU" sz="1100" b="1" dirty="0" smtClean="0">
                <a:solidFill>
                  <a:schemeClr val="bg1"/>
                </a:solidFill>
              </a:rPr>
              <a:t>тыс</a:t>
            </a:r>
            <a:r>
              <a:rPr lang="ru-RU" sz="1100" b="1" dirty="0">
                <a:solidFill>
                  <a:schemeClr val="bg1"/>
                </a:solidFill>
              </a:rPr>
              <a:t>. </a:t>
            </a:r>
            <a:r>
              <a:rPr lang="ru-RU" sz="1100" b="1" dirty="0" smtClean="0">
                <a:solidFill>
                  <a:schemeClr val="bg1"/>
                </a:solidFill>
              </a:rPr>
              <a:t>тонн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21" name="Oval 9">
            <a:extLst>
              <a:ext uri="{FF2B5EF4-FFF2-40B4-BE49-F238E27FC236}">
                <a16:creationId xmlns:lc="http://schemas.openxmlformats.org/drawingml/2006/lockedCanvas" xmlns="" xmlns:a16="http://schemas.microsoft.com/office/drawing/2014/main" id="{194E2F19-8852-4DC1-9562-D324F80D3724}"/>
              </a:ext>
            </a:extLst>
          </p:cNvPr>
          <p:cNvSpPr/>
          <p:nvPr/>
        </p:nvSpPr>
        <p:spPr>
          <a:xfrm>
            <a:off x="5930305" y="1021283"/>
            <a:ext cx="951162" cy="671787"/>
          </a:xfrm>
          <a:prstGeom prst="ellipse">
            <a:avLst/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901</a:t>
            </a:r>
            <a:r>
              <a:rPr lang="ru-RU" sz="32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200" i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шт.</a:t>
            </a:r>
            <a:endParaRPr lang="ru-RU" sz="900" i="1" dirty="0" smtClean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sp>
        <p:nvSpPr>
          <p:cNvPr id="122" name="Title 4"/>
          <p:cNvSpPr txBox="1">
            <a:spLocks/>
          </p:cNvSpPr>
          <p:nvPr/>
        </p:nvSpPr>
        <p:spPr>
          <a:xfrm>
            <a:off x="6972754" y="2045447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499,7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23" name="Прямоугольник 122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478804" y="1851445"/>
            <a:ext cx="3420066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7 </a:t>
            </a:r>
            <a:r>
              <a:rPr lang="ru-RU" sz="16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артофелехранилищ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4" name="Title 4"/>
          <p:cNvSpPr txBox="1">
            <a:spLocks/>
          </p:cNvSpPr>
          <p:nvPr/>
        </p:nvSpPr>
        <p:spPr>
          <a:xfrm>
            <a:off x="7004143" y="2369915"/>
            <a:ext cx="1820097" cy="314349"/>
          </a:xfrm>
          <a:prstGeom prst="rect">
            <a:avLst/>
          </a:prstGeom>
          <a:noFill/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24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136,9</a:t>
            </a:r>
            <a:r>
              <a:rPr lang="ru-RU" sz="1600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тыс. тонн</a:t>
            </a: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3542581" y="2185762"/>
            <a:ext cx="3338886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64 </a:t>
            </a:r>
            <a:r>
              <a:rPr lang="ru-RU" sz="1600" b="1" dirty="0" err="1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плодо-фруктохранилищ</a:t>
            </a:r>
            <a:r>
              <a:rPr lang="ru-RU" sz="1600" b="1" dirty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</a:t>
            </a:r>
            <a:endParaRPr lang="ru-RU" sz="600" b="1" baseline="2000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>
            <a:off x="116951" y="557613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ПРОВЕДЕНА ПОЛНАЯ ИНВЕНТАРИЗАЦИЯ СУЩЕСТВУЮЩИХ ОБЪЕКТОВ ХРАНЕНИЯ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>
            <a:off x="4562311" y="-3833372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8" name="Rectangle 24">
            <a:extLst>
              <a:ext uri="{FF2B5EF4-FFF2-40B4-BE49-F238E27FC236}">
                <a16:creationId xmlns="" xmlns:a16="http://schemas.microsoft.com/office/drawing/2014/main" id="{BE978A03-E1E4-4573-8FAE-093A5606C8D9}"/>
              </a:ext>
            </a:extLst>
          </p:cNvPr>
          <p:cNvSpPr/>
          <p:nvPr/>
        </p:nvSpPr>
        <p:spPr>
          <a:xfrm rot="16200000" flipH="1">
            <a:off x="4619964" y="-3439037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="" xmlns:a16="http://schemas.microsoft.com/office/drawing/2014/main" id="{10E30B65-2A54-4DD8-8A24-FBDD0BDF567A}"/>
              </a:ext>
            </a:extLst>
          </p:cNvPr>
          <p:cNvSpPr/>
          <p:nvPr/>
        </p:nvSpPr>
        <p:spPr bwMode="auto">
          <a:xfrm>
            <a:off x="3619138" y="2739905"/>
            <a:ext cx="5444273" cy="508865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3619138" y="2686779"/>
            <a:ext cx="5345350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200" b="1" i="1" dirty="0" smtClean="0">
                <a:solidFill>
                  <a:srgbClr val="00518E"/>
                </a:solidFill>
              </a:rPr>
              <a:t>с </a:t>
            </a:r>
            <a:r>
              <a:rPr lang="ru-RU" sz="1200" b="1" i="1" dirty="0">
                <a:solidFill>
                  <a:srgbClr val="00518E"/>
                </a:solidFill>
              </a:rPr>
              <a:t>холодильным оборудованием имеется 350,1 </a:t>
            </a:r>
            <a:r>
              <a:rPr lang="ru-RU" sz="1200" b="1" i="1" dirty="0" err="1">
                <a:solidFill>
                  <a:srgbClr val="00518E"/>
                </a:solidFill>
              </a:rPr>
              <a:t>тыс.тонн</a:t>
            </a:r>
            <a:r>
              <a:rPr lang="ru-RU" sz="1200" b="1" i="1" dirty="0">
                <a:solidFill>
                  <a:srgbClr val="00518E"/>
                </a:solidFill>
              </a:rPr>
              <a:t> (19%), 1 032,3 </a:t>
            </a:r>
            <a:r>
              <a:rPr lang="ru-RU" sz="1200" b="1" i="1" dirty="0" err="1">
                <a:solidFill>
                  <a:srgbClr val="00518E"/>
                </a:solidFill>
              </a:rPr>
              <a:t>тыс.тонн</a:t>
            </a:r>
            <a:r>
              <a:rPr lang="ru-RU" sz="1200" b="1" i="1" dirty="0">
                <a:solidFill>
                  <a:srgbClr val="00518E"/>
                </a:solidFill>
              </a:rPr>
              <a:t> оборудовано вентиляционным </a:t>
            </a:r>
            <a:r>
              <a:rPr lang="ru-RU" sz="1200" b="1" i="1" dirty="0" smtClean="0">
                <a:solidFill>
                  <a:srgbClr val="00518E"/>
                </a:solidFill>
              </a:rPr>
              <a:t>(</a:t>
            </a:r>
            <a:r>
              <a:rPr lang="ru-RU" sz="1200" b="1" i="1" dirty="0">
                <a:solidFill>
                  <a:srgbClr val="00518E"/>
                </a:solidFill>
              </a:rPr>
              <a:t>57%), 440 тыс. тонн без климат-контроля (24%)</a:t>
            </a:r>
          </a:p>
        </p:txBody>
      </p:sp>
      <p:sp>
        <p:nvSpPr>
          <p:cNvPr id="131" name="Нашивка 130"/>
          <p:cNvSpPr/>
          <p:nvPr/>
        </p:nvSpPr>
        <p:spPr>
          <a:xfrm>
            <a:off x="6070759" y="3381270"/>
            <a:ext cx="1263382" cy="572303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32" name="object 10"/>
          <p:cNvSpPr txBox="1"/>
          <p:nvPr/>
        </p:nvSpPr>
        <p:spPr>
          <a:xfrm>
            <a:off x="5951293" y="3401290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40,6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133" name="object 10"/>
          <p:cNvSpPr txBox="1"/>
          <p:nvPr/>
        </p:nvSpPr>
        <p:spPr>
          <a:xfrm>
            <a:off x="4771177" y="3995001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4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134" name="object 10"/>
          <p:cNvSpPr txBox="1"/>
          <p:nvPr/>
        </p:nvSpPr>
        <p:spPr>
          <a:xfrm>
            <a:off x="5896505" y="3992467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2025 год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6" name="Нашивка 35"/>
          <p:cNvSpPr/>
          <p:nvPr/>
        </p:nvSpPr>
        <p:spPr>
          <a:xfrm>
            <a:off x="1528312" y="1995686"/>
            <a:ext cx="1263382" cy="704509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190541" y="1214968"/>
            <a:ext cx="3215504" cy="602331"/>
          </a:xfrm>
          <a:prstGeom prst="chevron">
            <a:avLst>
              <a:gd name="adj" fmla="val 31175"/>
            </a:avLst>
          </a:prstGeom>
          <a:solidFill>
            <a:schemeClr val="bg1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chemeClr val="tx1"/>
                </a:solidFill>
                <a:cs typeface="Arial" charset="0"/>
              </a:rPr>
              <a:t>ЗА 2021-2022 ГОДЫ РЕАЛИЗОВАНО </a:t>
            </a:r>
            <a:endParaRPr lang="ru-RU" sz="140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0" name="object 10"/>
          <p:cNvSpPr txBox="1"/>
          <p:nvPr/>
        </p:nvSpPr>
        <p:spPr>
          <a:xfrm>
            <a:off x="1360001" y="2713592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ФАКТ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1" name="Нашивка 40"/>
          <p:cNvSpPr/>
          <p:nvPr/>
        </p:nvSpPr>
        <p:spPr>
          <a:xfrm>
            <a:off x="691668" y="2369705"/>
            <a:ext cx="1038957" cy="537945"/>
          </a:xfrm>
          <a:prstGeom prst="chevron">
            <a:avLst>
              <a:gd name="adj" fmla="val 26755"/>
            </a:avLst>
          </a:prstGeom>
          <a:solidFill>
            <a:schemeClr val="bg2">
              <a:lumMod val="65000"/>
            </a:schemeClr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2" name="object 10"/>
          <p:cNvSpPr txBox="1"/>
          <p:nvPr/>
        </p:nvSpPr>
        <p:spPr>
          <a:xfrm>
            <a:off x="484878" y="2362690"/>
            <a:ext cx="144624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81,5 </a:t>
            </a:r>
          </a:p>
          <a:p>
            <a:pPr marL="55880" algn="ctr">
              <a:lnSpc>
                <a:spcPct val="100000"/>
              </a:lnSpc>
            </a:pPr>
            <a:r>
              <a:rPr lang="ru-RU" sz="12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700" dirty="0">
              <a:solidFill>
                <a:schemeClr val="bg1"/>
              </a:solidFill>
            </a:endParaRPr>
          </a:p>
        </p:txBody>
      </p:sp>
      <p:sp>
        <p:nvSpPr>
          <p:cNvPr id="43" name="object 10"/>
          <p:cNvSpPr txBox="1"/>
          <p:nvPr/>
        </p:nvSpPr>
        <p:spPr>
          <a:xfrm>
            <a:off x="1422010" y="2045732"/>
            <a:ext cx="1446241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0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200,8 </a:t>
            </a:r>
          </a:p>
          <a:p>
            <a:pPr marL="55880" algn="ctr">
              <a:lnSpc>
                <a:spcPct val="100000"/>
              </a:lnSpc>
            </a:pPr>
            <a:r>
              <a:rPr lang="ru-RU" sz="14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тыс. тонн</a:t>
            </a:r>
            <a:endParaRPr sz="800" dirty="0">
              <a:solidFill>
                <a:schemeClr val="bg1"/>
              </a:solidFill>
            </a:endParaRPr>
          </a:p>
        </p:txBody>
      </p:sp>
      <p:sp>
        <p:nvSpPr>
          <p:cNvPr id="44" name="object 10"/>
          <p:cNvSpPr txBox="1"/>
          <p:nvPr/>
        </p:nvSpPr>
        <p:spPr>
          <a:xfrm>
            <a:off x="354780" y="2949933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ПЛАН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DC0C7C47-77FF-4F6D-81A0-703A8CC8F843}"/>
              </a:ext>
            </a:extLst>
          </p:cNvPr>
          <p:cNvSpPr/>
          <p:nvPr/>
        </p:nvSpPr>
        <p:spPr>
          <a:xfrm>
            <a:off x="7380007" y="3371942"/>
            <a:ext cx="17051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518E"/>
                </a:solidFill>
              </a:rPr>
              <a:t>689,9</a:t>
            </a:r>
          </a:p>
          <a:p>
            <a:pPr algn="ctr"/>
            <a:r>
              <a:rPr lang="ru-RU" b="1" dirty="0">
                <a:solidFill>
                  <a:srgbClr val="00518E"/>
                </a:solidFill>
              </a:rPr>
              <a:t>тыс. тонн</a:t>
            </a:r>
          </a:p>
        </p:txBody>
      </p:sp>
      <p:sp>
        <p:nvSpPr>
          <p:cNvPr id="4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8195786" y="3285764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8180825" y="2563061"/>
            <a:ext cx="45719" cy="1529885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7465121" y="4115276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ВСЕГО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7587" y="4056614"/>
            <a:ext cx="36605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Комплексный план актуализирован в сторону увеличения. По годам увеличение составило:</a:t>
            </a:r>
            <a:endParaRPr lang="ru-RU" sz="1100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79391" y="4171001"/>
            <a:ext cx="13017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75,8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онн</a:t>
            </a:r>
            <a:endParaRPr lang="ru-RU" sz="900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4902100" y="4184312"/>
            <a:ext cx="13017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50,5 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онн</a:t>
            </a:r>
            <a:endParaRPr lang="ru-RU" sz="9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6142469" y="4184862"/>
            <a:ext cx="13017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+ 110,6 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онн</a:t>
            </a:r>
            <a:endParaRPr lang="ru-RU" sz="9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7581708" y="4272057"/>
            <a:ext cx="13017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1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 + 528,8 </a:t>
            </a:r>
            <a:r>
              <a:rPr lang="ru-RU" sz="900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онн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5719183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САДОВОДСТВО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6369CE36-D358-4F9D-964E-D9A72B1FD936}"/>
              </a:ext>
            </a:extLst>
          </p:cNvPr>
          <p:cNvSpPr/>
          <p:nvPr/>
        </p:nvSpPr>
        <p:spPr>
          <a:xfrm>
            <a:off x="3789612" y="2600921"/>
            <a:ext cx="178125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ВАЛОВЫЙ СБОР ЯБЛОК, </a:t>
            </a:r>
          </a:p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тыс</a:t>
            </a:r>
            <a:r>
              <a:rPr lang="ru-RU" sz="1200" b="1" dirty="0">
                <a:solidFill>
                  <a:srgbClr val="262626"/>
                </a:solidFill>
              </a:rPr>
              <a:t>. </a:t>
            </a:r>
            <a:r>
              <a:rPr lang="ru-RU" sz="1200" b="1" dirty="0" smtClean="0">
                <a:solidFill>
                  <a:srgbClr val="262626"/>
                </a:solidFill>
              </a:rPr>
              <a:t>тон</a:t>
            </a:r>
            <a:endParaRPr lang="ru-RU" sz="1200" b="1" dirty="0">
              <a:solidFill>
                <a:srgbClr val="262626"/>
              </a:solidFill>
            </a:endParaRPr>
          </a:p>
        </p:txBody>
      </p:sp>
      <p:grpSp>
        <p:nvGrpSpPr>
          <p:cNvPr id="119" name="Группа 118"/>
          <p:cNvGrpSpPr/>
          <p:nvPr/>
        </p:nvGrpSpPr>
        <p:grpSpPr>
          <a:xfrm>
            <a:off x="3352847" y="1543678"/>
            <a:ext cx="824019" cy="811806"/>
            <a:chOff x="851279" y="2119093"/>
            <a:chExt cx="694334" cy="691118"/>
          </a:xfrm>
        </p:grpSpPr>
        <p:sp>
          <p:nvSpPr>
            <p:cNvPr id="123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24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26" name="Прямоугольник 125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3310169" y="1797568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92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27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249819" y="2238980"/>
            <a:ext cx="1044097" cy="236959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год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28" name="Группа 127"/>
          <p:cNvGrpSpPr/>
          <p:nvPr/>
        </p:nvGrpSpPr>
        <p:grpSpPr>
          <a:xfrm>
            <a:off x="4914738" y="1327791"/>
            <a:ext cx="825086" cy="809091"/>
            <a:chOff x="851279" y="2119093"/>
            <a:chExt cx="694334" cy="691118"/>
          </a:xfrm>
        </p:grpSpPr>
        <p:sp>
          <p:nvSpPr>
            <p:cNvPr id="129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30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rgbClr val="FFC000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31" name="Прямоугольник 130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4889945" y="1563646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05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32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838307" y="2023859"/>
            <a:ext cx="1040575" cy="231381"/>
          </a:xfrm>
          <a:prstGeom prst="roundRect">
            <a:avLst>
              <a:gd name="adj" fmla="val 0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год</a:t>
            </a:r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</a:p>
        </p:txBody>
      </p:sp>
      <p:sp>
        <p:nvSpPr>
          <p:cNvPr id="133" name="Прямоугольник 132">
            <a:extLst>
              <a:ext uri="{FF2B5EF4-FFF2-40B4-BE49-F238E27FC236}">
                <a16:creationId xmlns="" xmlns:a16="http://schemas.microsoft.com/office/drawing/2014/main" id="{250A5C5E-303A-45A9-ACD7-A31C426F0EA9}"/>
              </a:ext>
            </a:extLst>
          </p:cNvPr>
          <p:cNvSpPr/>
          <p:nvPr/>
        </p:nvSpPr>
        <p:spPr>
          <a:xfrm>
            <a:off x="4091453" y="1573337"/>
            <a:ext cx="91631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2,2 раза</a:t>
            </a:r>
            <a:endParaRPr lang="ru-RU" sz="1400" b="1" dirty="0">
              <a:solidFill>
                <a:srgbClr val="31A050"/>
              </a:solidFill>
            </a:endParaRPr>
          </a:p>
        </p:txBody>
      </p:sp>
      <p:sp>
        <p:nvSpPr>
          <p:cNvPr id="134" name="Штриховая стрелка вправо 133"/>
          <p:cNvSpPr/>
          <p:nvPr/>
        </p:nvSpPr>
        <p:spPr bwMode="auto">
          <a:xfrm rot="20135598">
            <a:off x="4295299" y="1878641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74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9" name="Прямоугольник 148">
            <a:extLst>
              <a:ext uri="{FF2B5EF4-FFF2-40B4-BE49-F238E27FC236}">
                <a16:creationId xmlns:a16="http://schemas.microsoft.com/office/drawing/2014/main" xmlns="" id="{FABD59BF-DB7F-4943-A259-C73A095C5A01}"/>
              </a:ext>
            </a:extLst>
          </p:cNvPr>
          <p:cNvSpPr/>
          <p:nvPr/>
        </p:nvSpPr>
        <p:spPr>
          <a:xfrm>
            <a:off x="380575" y="2590609"/>
            <a:ext cx="275107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ПРОМЫШЛЕННЫЕ ЯБЛОНЕВЫЕ САДЫ , </a:t>
            </a:r>
          </a:p>
          <a:p>
            <a:pPr algn="ctr"/>
            <a:r>
              <a:rPr lang="ru-RU" sz="1200" b="1" dirty="0" smtClean="0">
                <a:solidFill>
                  <a:srgbClr val="262626"/>
                </a:solidFill>
              </a:rPr>
              <a:t>тыс</a:t>
            </a:r>
            <a:r>
              <a:rPr lang="ru-RU" sz="1200" b="1" dirty="0">
                <a:solidFill>
                  <a:srgbClr val="262626"/>
                </a:solidFill>
              </a:rPr>
              <a:t>. га</a:t>
            </a:r>
          </a:p>
        </p:txBody>
      </p:sp>
      <p:grpSp>
        <p:nvGrpSpPr>
          <p:cNvPr id="150" name="Группа 149"/>
          <p:cNvGrpSpPr/>
          <p:nvPr/>
        </p:nvGrpSpPr>
        <p:grpSpPr>
          <a:xfrm>
            <a:off x="402318" y="1595571"/>
            <a:ext cx="824019" cy="811806"/>
            <a:chOff x="851279" y="2119093"/>
            <a:chExt cx="694334" cy="691118"/>
          </a:xfrm>
        </p:grpSpPr>
        <p:sp>
          <p:nvSpPr>
            <p:cNvPr id="151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2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3" name="Прямоугольник 152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377359" y="1799889"/>
            <a:ext cx="9234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1,7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4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5838" y="2303283"/>
            <a:ext cx="1044097" cy="249673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14 год</a:t>
            </a:r>
            <a:r>
              <a:rPr lang="ru-RU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endParaRPr lang="ru-RU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charset="0"/>
            </a:endParaRPr>
          </a:p>
        </p:txBody>
      </p:sp>
      <p:grpSp>
        <p:nvGrpSpPr>
          <p:cNvPr id="155" name="Группа 154"/>
          <p:cNvGrpSpPr/>
          <p:nvPr/>
        </p:nvGrpSpPr>
        <p:grpSpPr>
          <a:xfrm>
            <a:off x="2049638" y="1248307"/>
            <a:ext cx="825086" cy="809091"/>
            <a:chOff x="851279" y="2119093"/>
            <a:chExt cx="694334" cy="691118"/>
          </a:xfrm>
        </p:grpSpPr>
        <p:sp>
          <p:nvSpPr>
            <p:cNvPr id="156" name="Freeform: Shape 87">
              <a:extLst>
                <a:ext uri="{FF2B5EF4-FFF2-40B4-BE49-F238E27FC236}">
                  <a16:creationId xmlns:a16="http://schemas.microsoft.com/office/drawing/2014/main" xmlns="" id="{0048B978-8F31-4F13-97B5-853C6C2A4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279" y="2119093"/>
              <a:ext cx="694334" cy="691118"/>
            </a:xfrm>
            <a:custGeom>
              <a:avLst/>
              <a:gdLst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369697 w 575300"/>
                <a:gd name="connsiteY6" fmla="*/ 174198 h 576998"/>
                <a:gd name="connsiteX7" fmla="*/ 202133 w 575300"/>
                <a:gd name="connsiteY7" fmla="*/ 14437 h 576998"/>
                <a:gd name="connsiteX8" fmla="*/ 229678 w 575300"/>
                <a:gd name="connsiteY8" fmla="*/ 5861 h 576998"/>
                <a:gd name="connsiteX9" fmla="*/ 287650 w 575300"/>
                <a:gd name="connsiteY9" fmla="*/ 0 h 576998"/>
                <a:gd name="connsiteX0" fmla="*/ 287650 w 575300"/>
                <a:gd name="connsiteY0" fmla="*/ 0 h 576998"/>
                <a:gd name="connsiteX1" fmla="*/ 575300 w 575300"/>
                <a:gd name="connsiteY1" fmla="*/ 288499 h 576998"/>
                <a:gd name="connsiteX2" fmla="*/ 287650 w 575300"/>
                <a:gd name="connsiteY2" fmla="*/ 576998 h 576998"/>
                <a:gd name="connsiteX3" fmla="*/ 0 w 575300"/>
                <a:gd name="connsiteY3" fmla="*/ 288499 h 576998"/>
                <a:gd name="connsiteX4" fmla="*/ 1014 w 575300"/>
                <a:gd name="connsiteY4" fmla="*/ 278414 h 576998"/>
                <a:gd name="connsiteX5" fmla="*/ 142092 w 575300"/>
                <a:gd name="connsiteY5" fmla="*/ 412922 h 576998"/>
                <a:gd name="connsiteX6" fmla="*/ 202133 w 575300"/>
                <a:gd name="connsiteY6" fmla="*/ 14437 h 576998"/>
                <a:gd name="connsiteX7" fmla="*/ 229678 w 575300"/>
                <a:gd name="connsiteY7" fmla="*/ 5861 h 576998"/>
                <a:gd name="connsiteX8" fmla="*/ 287650 w 575300"/>
                <a:gd name="connsiteY8" fmla="*/ 0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8" fmla="*/ 233532 w 575300"/>
                <a:gd name="connsiteY8" fmla="*/ 504362 h 576998"/>
                <a:gd name="connsiteX0" fmla="*/ 142092 w 575300"/>
                <a:gd name="connsiteY0" fmla="*/ 412922 h 576998"/>
                <a:gd name="connsiteX1" fmla="*/ 202133 w 575300"/>
                <a:gd name="connsiteY1" fmla="*/ 14437 h 576998"/>
                <a:gd name="connsiteX2" fmla="*/ 229678 w 575300"/>
                <a:gd name="connsiteY2" fmla="*/ 5861 h 576998"/>
                <a:gd name="connsiteX3" fmla="*/ 287650 w 575300"/>
                <a:gd name="connsiteY3" fmla="*/ 0 h 576998"/>
                <a:gd name="connsiteX4" fmla="*/ 575300 w 575300"/>
                <a:gd name="connsiteY4" fmla="*/ 288499 h 576998"/>
                <a:gd name="connsiteX5" fmla="*/ 287650 w 575300"/>
                <a:gd name="connsiteY5" fmla="*/ 576998 h 576998"/>
                <a:gd name="connsiteX6" fmla="*/ 0 w 575300"/>
                <a:gd name="connsiteY6" fmla="*/ 288499 h 576998"/>
                <a:gd name="connsiteX7" fmla="*/ 1014 w 575300"/>
                <a:gd name="connsiteY7" fmla="*/ 278414 h 576998"/>
                <a:gd name="connsiteX0" fmla="*/ 202133 w 575300"/>
                <a:gd name="connsiteY0" fmla="*/ 14437 h 576998"/>
                <a:gd name="connsiteX1" fmla="*/ 229678 w 575300"/>
                <a:gd name="connsiteY1" fmla="*/ 5861 h 576998"/>
                <a:gd name="connsiteX2" fmla="*/ 287650 w 575300"/>
                <a:gd name="connsiteY2" fmla="*/ 0 h 576998"/>
                <a:gd name="connsiteX3" fmla="*/ 575300 w 575300"/>
                <a:gd name="connsiteY3" fmla="*/ 288499 h 576998"/>
                <a:gd name="connsiteX4" fmla="*/ 287650 w 575300"/>
                <a:gd name="connsiteY4" fmla="*/ 576998 h 576998"/>
                <a:gd name="connsiteX5" fmla="*/ 0 w 575300"/>
                <a:gd name="connsiteY5" fmla="*/ 288499 h 576998"/>
                <a:gd name="connsiteX6" fmla="*/ 1014 w 575300"/>
                <a:gd name="connsiteY6" fmla="*/ 278414 h 57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5300" h="576998">
                  <a:moveTo>
                    <a:pt x="202133" y="14437"/>
                  </a:moveTo>
                  <a:lnTo>
                    <a:pt x="229678" y="5861"/>
                  </a:lnTo>
                  <a:cubicBezTo>
                    <a:pt x="248404" y="2018"/>
                    <a:pt x="267792" y="0"/>
                    <a:pt x="287650" y="0"/>
                  </a:cubicBezTo>
                  <a:cubicBezTo>
                    <a:pt x="446515" y="0"/>
                    <a:pt x="575300" y="129165"/>
                    <a:pt x="575300" y="288499"/>
                  </a:cubicBezTo>
                  <a:cubicBezTo>
                    <a:pt x="575300" y="447833"/>
                    <a:pt x="446515" y="576998"/>
                    <a:pt x="287650" y="576998"/>
                  </a:cubicBezTo>
                  <a:cubicBezTo>
                    <a:pt x="128785" y="576998"/>
                    <a:pt x="0" y="447833"/>
                    <a:pt x="0" y="288499"/>
                  </a:cubicBezTo>
                  <a:lnTo>
                    <a:pt x="1014" y="278414"/>
                  </a:lnTo>
                </a:path>
              </a:pathLst>
            </a:cu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 err="1">
                <a:solidFill>
                  <a:srgbClr val="000000"/>
                </a:solidFill>
              </a:endParaRPr>
            </a:p>
          </p:txBody>
        </p:sp>
        <p:sp>
          <p:nvSpPr>
            <p:cNvPr id="157" name="Marvintrackercircle">
              <a:extLst>
                <a:ext uri="{FF2B5EF4-FFF2-40B4-BE49-F238E27FC236}">
                  <a16:creationId xmlns:a16="http://schemas.microsoft.com/office/drawing/2014/main" xmlns="" id="{28073D82-5ADA-40E6-90B1-7DCB186767B7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894145" y="2165469"/>
              <a:ext cx="608601" cy="603998"/>
            </a:xfrm>
            <a:prstGeom prst="ellipse">
              <a:avLst/>
            </a:prstGeom>
            <a:noFill/>
            <a:ln w="28575" cap="flat" cmpd="sng" algn="ctr">
              <a:solidFill>
                <a:schemeClr val="accent6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kern="0" dirty="0">
                <a:solidFill>
                  <a:srgbClr val="0070CE"/>
                </a:solidFill>
              </a:endParaRPr>
            </a:p>
          </p:txBody>
        </p:sp>
      </p:grp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xmlns="" id="{DC0AFFE8-30AD-4E79-84A0-CE4B412A7745}"/>
              </a:ext>
            </a:extLst>
          </p:cNvPr>
          <p:cNvSpPr/>
          <p:nvPr/>
        </p:nvSpPr>
        <p:spPr>
          <a:xfrm>
            <a:off x="2024845" y="1484162"/>
            <a:ext cx="91984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28,9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59" name="Rectangle 286">
            <a:extLst>
              <a:ext uri="{FF2B5EF4-FFF2-40B4-BE49-F238E27FC236}">
                <a16:creationId xmlns:a16="http://schemas.microsoft.com/office/drawing/2014/main" xmlns="" id="{5E5C8412-0562-422A-A73C-4B569946F17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31786" y="1947364"/>
            <a:ext cx="1040575" cy="231381"/>
          </a:xfrm>
          <a:prstGeom prst="roundRect">
            <a:avLst>
              <a:gd name="adj" fmla="val 0"/>
            </a:avLst>
          </a:prstGeom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>
            <a:noAutofit/>
          </a:bodyPr>
          <a:lstStyle>
            <a:defPPr>
              <a:defRPr lang="en-US"/>
            </a:defPPr>
            <a:lvl1pPr algn="ctr">
              <a:defRPr sz="1100"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02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2</a:t>
            </a:r>
            <a:r>
              <a:rPr lang="ru-RU" sz="16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год</a:t>
            </a:r>
            <a:r>
              <a:rPr lang="ru-RU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charset="0"/>
              </a:rPr>
              <a:t> </a:t>
            </a:r>
          </a:p>
        </p:txBody>
      </p:sp>
      <p:sp>
        <p:nvSpPr>
          <p:cNvPr id="160" name="Штриховая стрелка вправо 159"/>
          <p:cNvSpPr/>
          <p:nvPr/>
        </p:nvSpPr>
        <p:spPr bwMode="auto">
          <a:xfrm rot="19898473">
            <a:off x="1344429" y="2011556"/>
            <a:ext cx="522173" cy="207186"/>
          </a:xfrm>
          <a:prstGeom prst="stripedRightArrow">
            <a:avLst/>
          </a:prstGeom>
          <a:gradFill>
            <a:gsLst>
              <a:gs pos="0">
                <a:srgbClr val="196491">
                  <a:lumMod val="5000"/>
                  <a:lumOff val="95000"/>
                  <a:alpha val="18000"/>
                </a:srgbClr>
              </a:gs>
              <a:gs pos="0">
                <a:schemeClr val="accent5">
                  <a:lumMod val="75000"/>
                </a:schemeClr>
              </a:gs>
              <a:gs pos="58000">
                <a:schemeClr val="accent6"/>
              </a:gs>
              <a:gs pos="9000">
                <a:srgbClr val="FFC000"/>
              </a:gs>
            </a:gsLst>
            <a:lin ang="16200000" scaled="1"/>
          </a:gra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1" name="Прямоугольник 160">
            <a:extLst>
              <a:ext uri="{FF2B5EF4-FFF2-40B4-BE49-F238E27FC236}">
                <a16:creationId xmlns="" xmlns:a16="http://schemas.microsoft.com/office/drawing/2014/main" id="{250A5C5E-303A-45A9-ACD7-A31C426F0EA9}"/>
              </a:ext>
            </a:extLst>
          </p:cNvPr>
          <p:cNvSpPr/>
          <p:nvPr/>
        </p:nvSpPr>
        <p:spPr>
          <a:xfrm>
            <a:off x="1138561" y="1682884"/>
            <a:ext cx="762000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>
                <a:solidFill>
                  <a:srgbClr val="31A050"/>
                </a:solidFill>
              </a:rPr>
              <a:t> </a:t>
            </a:r>
            <a:r>
              <a:rPr lang="ru-RU" sz="1400" b="1" dirty="0" smtClean="0">
                <a:solidFill>
                  <a:srgbClr val="31A050"/>
                </a:solidFill>
              </a:rPr>
              <a:t>+7,2</a:t>
            </a:r>
            <a:endParaRPr lang="ru-RU" sz="1400" b="1" dirty="0">
              <a:solidFill>
                <a:srgbClr val="31A050"/>
              </a:solidFill>
            </a:endParaRPr>
          </a:p>
        </p:txBody>
      </p:sp>
      <p:cxnSp>
        <p:nvCxnSpPr>
          <p:cNvPr id="162" name="Прямая соединительная линия 161">
            <a:extLst>
              <a:ext uri="{FF2B5EF4-FFF2-40B4-BE49-F238E27FC236}">
                <a16:creationId xmlns="" xmlns:a16="http://schemas.microsoft.com/office/drawing/2014/main" id="{D87B4217-8BBE-4C14-9EDB-8CACBB5D9DE2}"/>
              </a:ext>
            </a:extLst>
          </p:cNvPr>
          <p:cNvCxnSpPr>
            <a:cxnSpLocks/>
          </p:cNvCxnSpPr>
          <p:nvPr/>
        </p:nvCxnSpPr>
        <p:spPr>
          <a:xfrm>
            <a:off x="3136125" y="1174044"/>
            <a:ext cx="0" cy="1392005"/>
          </a:xfrm>
          <a:prstGeom prst="line">
            <a:avLst/>
          </a:prstGeom>
          <a:ln w="12700">
            <a:solidFill>
              <a:srgbClr val="00518E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Прямоугольник 162"/>
          <p:cNvSpPr/>
          <p:nvPr/>
        </p:nvSpPr>
        <p:spPr>
          <a:xfrm>
            <a:off x="140311" y="605864"/>
            <a:ext cx="896819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С 2014 ГОДА С ВНЕДРЕНИЕМ ИНВЕСТИЦИОННЫХ СУБСИДИИ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164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>
            <a:off x="4601549" y="-3808518"/>
            <a:ext cx="45719" cy="8667301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5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627951" y="-3364703"/>
            <a:ext cx="45719" cy="8720103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6" name="Прямоугольник 165">
            <a:extLst>
              <a:ext uri="{FF2B5EF4-FFF2-40B4-BE49-F238E27FC236}">
                <a16:creationId xmlns="" xmlns:a16="http://schemas.microsoft.com/office/drawing/2014/main" id="{E0D534DE-2D5F-41BB-B3A6-B980B598BEA9}"/>
              </a:ext>
            </a:extLst>
          </p:cNvPr>
          <p:cNvSpPr/>
          <p:nvPr/>
        </p:nvSpPr>
        <p:spPr>
          <a:xfrm>
            <a:off x="6072528" y="1236193"/>
            <a:ext cx="2990883" cy="181706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ru-RU" sz="667"/>
          </a:p>
        </p:txBody>
      </p:sp>
      <p:sp>
        <p:nvSpPr>
          <p:cNvPr id="167" name="Title 4"/>
          <p:cNvSpPr txBox="1">
            <a:spLocks/>
          </p:cNvSpPr>
          <p:nvPr/>
        </p:nvSpPr>
        <p:spPr>
          <a:xfrm>
            <a:off x="6098067" y="1059446"/>
            <a:ext cx="1736293" cy="314349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000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350"/>
              </a:lnSpc>
            </a:pPr>
            <a:r>
              <a:rPr lang="ru-RU" sz="1350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panose="020B0604020202020204" pitchFamily="34" charset="0"/>
              </a:rPr>
              <a:t>В ЦЕЛОМ</a:t>
            </a:r>
            <a:endParaRPr lang="ru-RU" sz="135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6113766" y="1420280"/>
            <a:ext cx="29856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ПЛОЩАДИ ВСЕХ ЯБЛОНЕВЫХ САДОВ БЫЛИ УВЕЛИЧЕНЫ С 30,3 ДО </a:t>
            </a:r>
            <a:r>
              <a:rPr lang="ru-RU" sz="1600" b="1" dirty="0" smtClean="0">
                <a:solidFill>
                  <a:srgbClr val="00518E"/>
                </a:solidFill>
              </a:rPr>
              <a:t>35,7 ТЫС. ГА</a:t>
            </a:r>
            <a:r>
              <a:rPr lang="ru-RU" sz="1600" dirty="0" smtClean="0"/>
              <a:t>, А ВАЛОВЫЙ СБОР УВЕЛИЧЕН С 157 ТЫС. ТОНН ДО </a:t>
            </a:r>
            <a:r>
              <a:rPr lang="ru-RU" sz="1600" b="1" dirty="0">
                <a:solidFill>
                  <a:srgbClr val="00518E"/>
                </a:solidFill>
              </a:rPr>
              <a:t>267,9 ТЫС. ТОНН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84500" y="3282730"/>
            <a:ext cx="9063534" cy="757128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600" i="1" dirty="0" smtClean="0"/>
              <a:t>К 2024 ГОДУ ВАЛОВЫЙ СБОР ЯБЛОК БУДЕТ ДОВЕДЕН </a:t>
            </a:r>
            <a:r>
              <a:rPr lang="ru-RU" sz="1600" b="1" i="1" dirty="0" smtClean="0">
                <a:solidFill>
                  <a:srgbClr val="00518E"/>
                </a:solidFill>
              </a:rPr>
              <a:t>ДО 352,5 ТЫС. ТОНН</a:t>
            </a:r>
            <a:r>
              <a:rPr lang="ru-RU" sz="1600" i="1" dirty="0" smtClean="0"/>
              <a:t>, ЧТО ПОЛНОСТЬЮ </a:t>
            </a:r>
            <a:r>
              <a:rPr lang="ru-RU" sz="1600" b="1" i="1" dirty="0">
                <a:solidFill>
                  <a:srgbClr val="00518E"/>
                </a:solidFill>
              </a:rPr>
              <a:t>ОБЕСПЕЧИТ</a:t>
            </a:r>
            <a:r>
              <a:rPr lang="ru-RU" sz="1600" i="1" dirty="0" smtClean="0"/>
              <a:t> ПОТРЕБНОСТИ </a:t>
            </a:r>
            <a:r>
              <a:rPr lang="ru-RU" sz="1600" b="1" i="1" dirty="0" smtClean="0">
                <a:solidFill>
                  <a:srgbClr val="00518E"/>
                </a:solidFill>
              </a:rPr>
              <a:t>ВНУТРЕННЕГО РЫНКА</a:t>
            </a:r>
            <a:r>
              <a:rPr lang="ru-RU" sz="1600" i="1" dirty="0" smtClean="0"/>
              <a:t>, ЭТО БУДЕТ ДОСТИГНУТО ЗА СЧЕТ ЯБЛОНЕВЫХ САДОВ, КОТОРЫЕ БЫЛИ ЗАЛОЖЕНЫ В ПРЕДЫДУЩИЕ ГОДЫ</a:t>
            </a:r>
            <a:endParaRPr lang="ru-RU" sz="1600" i="1" dirty="0"/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-6429" y="4288196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1" name="Прямоугольник 170"/>
          <p:cNvSpPr/>
          <p:nvPr/>
        </p:nvSpPr>
        <p:spPr>
          <a:xfrm>
            <a:off x="84500" y="4288196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 УЧЕТОМ ПЛАНИРУЕМОГО РОСТА ПРОИЗВОДСТВА И ПОТРЕБНОСТЕЙ НАСЕЛЕНИЯ В ЯБЛОКАХ, ДЛЯ РАЗВИТИЯ ПРОИЗВОДСТВА МИНИСТЕРСТВОМ ВЕДЕТСЯ РАБОТА РАСКРЫТИЮ ЭКСПОРТНОГО ПОТЕНЦИАЛА В СТРАНЫ СРЕДНЕЙ АЗИИ.</a:t>
            </a:r>
            <a:endParaRPr lang="ru-RU" sz="1400" b="1" dirty="0">
              <a:solidFill>
                <a:srgbClr val="0051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800462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611560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СЕМЕНОВОДСТВО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34419" y="428204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467544" y="189374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3414" y="1398321"/>
            <a:ext cx="7541949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РАЗВИТИЕ АГРАРНОЙ НАУКИ, СЕЛЕКЦИИ И ПЕРВИЧНОГО СЕМЕНОВОДСТВ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3414" y="1767196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МЕРЫ ПО ОБНОВЛЕНИЮ ТЕХНИКИ И ОБОРУДОВАНИ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467544" y="1521274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Овал 62"/>
          <p:cNvSpPr/>
          <p:nvPr/>
        </p:nvSpPr>
        <p:spPr>
          <a:xfrm>
            <a:off x="928150" y="1496448"/>
            <a:ext cx="72000" cy="72000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68784" y="1376323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1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68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75277" y="1737468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2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56076" y="592182"/>
            <a:ext cx="8924235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РАЗРАБОТАН ПРОЕКТ КОМПЛЕКСНОГО ПЛАНА ПО РАЗВИТИЮ СЕЛЕКЦИИ И СЕМЕНОВОДСТВА СЕЛЬСКОХОЗЯЙСТВЕННЫХ КУЛЬТУР РК НА 2024-2028 ГОДЫ</a:t>
            </a:r>
            <a:endParaRPr lang="kk-KZ" b="1" dirty="0">
              <a:solidFill>
                <a:srgbClr val="00518E"/>
              </a:solidFill>
            </a:endParaRPr>
          </a:p>
        </p:txBody>
      </p:sp>
      <p:sp>
        <p:nvSpPr>
          <p:cNvPr id="119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538233" y="-3215113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cxnSp>
        <p:nvCxnSpPr>
          <p:cNvPr id="131" name="Прямая соединительная линия 130"/>
          <p:cNvCxnSpPr/>
          <p:nvPr/>
        </p:nvCxnSpPr>
        <p:spPr>
          <a:xfrm>
            <a:off x="475122" y="2259417"/>
            <a:ext cx="432048" cy="0"/>
          </a:xfrm>
          <a:prstGeom prst="line">
            <a:avLst/>
          </a:prstGeom>
          <a:ln w="63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82855" y="2103141"/>
            <a:ext cx="330226" cy="330226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</a:rPr>
              <a:t>3</a:t>
            </a:r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137928" y="2136072"/>
            <a:ext cx="7529827" cy="2862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СОЗДАНИЕ ЭФФЕКТИВНОЙ СИСТЕМЫ СЕМЕНОВОДСТВ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4" name="Прямоугольник 133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48925" y="2655111"/>
            <a:ext cx="914399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139854" y="2655111"/>
            <a:ext cx="8873559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УЖЕ ДОСТИГНУТА ДОГОВОРЕННОСТЬ С КРУПНЕЙШИМИ ПРОИЗВОДИТЕЛЯМИ СЕМЯОЧИСТИТЕЛЬНОЙ И СЕМЕНОВОДЧЕСКОЙ ТЕХНИКИ «WINTERSTEIGER AG» И «PETKUS TECHNOLOGIE GMBH» О ПОЛУЧЕНИИ КАЗАХСТАНСКИМИ АГРАРИЯМИ ТЕХНИКИ НА ВЫГОДНЫХ УСЛОВИЯХ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2627784" y="3731234"/>
            <a:ext cx="6385629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ПРАВИЛА СУБСИДИРОВАНИЯ ВНОСЯТСЯ ИЗМЕНЕНИЯ В ЧАСТИ УВЕЛИЧЕНИЯ НОРМАТИВА ВОЗМЕЩЕНИЯ ПРИ ПРИОБРЕТЕНИИ СЕЛЕКЦИОННО-СЕМЕНОВОДЧЕСКОЙ ТЕХНИКИ И ОБОРУДОВАНИЯ, А ТАКЖЕ СЕМЯОЧИСТИТЕЛЬНО-СОРТИРОВАЛЬНОГО ОБОРУДОВАНИ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7" name="Прямоугольник 13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612576" y="3878966"/>
            <a:ext cx="3888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с 25% до </a:t>
            </a:r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80%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2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4530779" y="-3847690"/>
            <a:ext cx="45719" cy="88384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291299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4"/>
          <p:cNvSpPr txBox="1">
            <a:spLocks/>
          </p:cNvSpPr>
          <p:nvPr/>
        </p:nvSpPr>
        <p:spPr>
          <a:xfrm>
            <a:off x="0" y="55658"/>
            <a:ext cx="9144000" cy="332385"/>
          </a:xfrm>
          <a:prstGeom prst="rect">
            <a:avLst/>
          </a:prstGeom>
        </p:spPr>
        <p:txBody>
          <a:bodyPr lIns="68580" tIns="34290" rIns="68580" bIns="3429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600" b="1" dirty="0">
                <a:solidFill>
                  <a:srgbClr val="00518E"/>
                </a:solidFill>
              </a:rPr>
              <a:t>ПРИМЕНЕНИЕ ВОДОСБЕРЕГАЮЩИХ ТЕХНОЛОГИЙ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2945" y="389868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>
            <a:extLst>
              <a:ext uri="{FF2B5EF4-FFF2-40B4-BE49-F238E27FC236}">
                <a16:creationId xmlns="" xmlns:a16="http://schemas.microsoft.com/office/drawing/2014/main" id="{E97E8ADC-B8E3-46CD-886C-BA621F4AB6D8}"/>
              </a:ext>
            </a:extLst>
          </p:cNvPr>
          <p:cNvGraphicFramePr/>
          <p:nvPr>
            <p:extLst/>
          </p:nvPr>
        </p:nvGraphicFramePr>
        <p:xfrm>
          <a:off x="153420" y="1311610"/>
          <a:ext cx="4608512" cy="36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11464" y="694996"/>
            <a:ext cx="4355976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ДИНАМИКА ВНЕДРЕНИЯ </a:t>
            </a:r>
          </a:p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ВОДОСБЕРЕГАЮЩИХ ТЕХНОЛОГИ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076056" y="699542"/>
            <a:ext cx="3955848" cy="51235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518E"/>
                </a:solidFill>
              </a:rPr>
              <a:t>ПЛАНЫ ПО ВНЕДРЕНИЮ ВОДОСБЕРЕГАЮЩИХ ТЕХНОЛОГИЙ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H="1">
            <a:off x="4916144" y="962762"/>
            <a:ext cx="9144" cy="408672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5184148" y="1569445"/>
            <a:ext cx="824585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i="1" dirty="0"/>
              <a:t>тыс. г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84054" y="1569445"/>
            <a:ext cx="824585" cy="29084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i="1" dirty="0"/>
              <a:t>тыс. га</a:t>
            </a:r>
          </a:p>
        </p:txBody>
      </p:sp>
      <p:graphicFrame>
        <p:nvGraphicFramePr>
          <p:cNvPr id="18" name="Диаграмма 17"/>
          <p:cNvGraphicFramePr/>
          <p:nvPr>
            <p:extLst/>
          </p:nvPr>
        </p:nvGraphicFramePr>
        <p:xfrm>
          <a:off x="5094374" y="1450571"/>
          <a:ext cx="3819173" cy="3111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088618" y="2174427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141</a:t>
            </a:r>
          </a:p>
        </p:txBody>
      </p:sp>
      <p:sp>
        <p:nvSpPr>
          <p:cNvPr id="30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7283185" y="25501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8413" y="3133372"/>
            <a:ext cx="332111" cy="332111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218413" y="4290434"/>
            <a:ext cx="638636" cy="238527"/>
          </a:xfrm>
          <a:prstGeom prst="rect">
            <a:avLst/>
          </a:prstGeom>
        </p:spPr>
        <p:txBody>
          <a:bodyPr wrap="none" lIns="68580" tIns="34290" rIns="68580" bIns="34290" anchor="ctr">
            <a:spAutoFit/>
          </a:bodyPr>
          <a:lstStyle/>
          <a:p>
            <a:r>
              <a:rPr lang="ru-RU" sz="1100" b="1" dirty="0">
                <a:solidFill>
                  <a:schemeClr val="tx1">
                    <a:lumMod val="25000"/>
                    <a:lumOff val="75000"/>
                  </a:schemeClr>
                </a:solidFill>
              </a:rPr>
              <a:t>(ПЛАН)</a:t>
            </a:r>
          </a:p>
        </p:txBody>
      </p:sp>
      <p:sp>
        <p:nvSpPr>
          <p:cNvPr id="19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7278615" y="2788810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AF11106D-C1E5-4C00-B730-ECFB2E005DBD}"/>
              </a:ext>
            </a:extLst>
          </p:cNvPr>
          <p:cNvSpPr/>
          <p:nvPr/>
        </p:nvSpPr>
        <p:spPr>
          <a:xfrm>
            <a:off x="7809419" y="1962150"/>
            <a:ext cx="623270" cy="300083"/>
          </a:xfrm>
          <a:prstGeom prst="rect">
            <a:avLst/>
          </a:prstGeom>
        </p:spPr>
        <p:txBody>
          <a:bodyPr wrap="square" lIns="68580" tIns="34290" rIns="68580" bIns="34290" anchor="ctr">
            <a:spAutoFit/>
          </a:bodyPr>
          <a:lstStyle/>
          <a:p>
            <a:r>
              <a:rPr lang="ru-RU" sz="1500" b="1" dirty="0">
                <a:solidFill>
                  <a:schemeClr val="accent2"/>
                </a:solidFill>
              </a:rPr>
              <a:t>+300</a:t>
            </a:r>
          </a:p>
        </p:txBody>
      </p:sp>
      <p:sp>
        <p:nvSpPr>
          <p:cNvPr id="21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1202" y="2397733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5772" y="2610931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0" y="3194170"/>
            <a:ext cx="332111" cy="332111"/>
          </a:xfrm>
          <a:prstGeom prst="rect">
            <a:avLst/>
          </a:prstGeom>
        </p:spPr>
      </p:pic>
      <p:sp>
        <p:nvSpPr>
          <p:cNvPr id="24" name="Стрелка: шеврон 421">
            <a:extLst>
              <a:ext uri="{FF2B5EF4-FFF2-40B4-BE49-F238E27FC236}">
                <a16:creationId xmlns="" xmlns:a16="http://schemas.microsoft.com/office/drawing/2014/main" id="{C9A2BEC5-B98E-4596-81BE-0D9723D7628C}"/>
              </a:ext>
            </a:extLst>
          </p:cNvPr>
          <p:cNvSpPr/>
          <p:nvPr/>
        </p:nvSpPr>
        <p:spPr bwMode="auto">
          <a:xfrm rot="16200000">
            <a:off x="8061202" y="2849608"/>
            <a:ext cx="222332" cy="265568"/>
          </a:xfrm>
          <a:prstGeom prst="chevron">
            <a:avLst/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48986" tIns="24493" rIns="48986" bIns="24493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970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B963273-7DA1-492B-9C4D-190B6D84AFDF}"/>
              </a:ext>
            </a:extLst>
          </p:cNvPr>
          <p:cNvSpPr/>
          <p:nvPr/>
        </p:nvSpPr>
        <p:spPr>
          <a:xfrm>
            <a:off x="539552" y="-114165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600" b="1" dirty="0" smtClean="0">
                <a:solidFill>
                  <a:srgbClr val="00518E"/>
                </a:solidFill>
                <a:latin typeface="+mj-lt"/>
                <a:ea typeface="+mj-ea"/>
                <a:cs typeface="+mj-cs"/>
              </a:rPr>
              <a:t>ПРОИЗВОДТСВО САХАРА</a:t>
            </a:r>
            <a:endParaRPr lang="ru-RU" sz="1600" b="1" dirty="0">
              <a:solidFill>
                <a:srgbClr val="00518E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89156" y="3252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291880" y="1365352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38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-295647" y="607558"/>
            <a:ext cx="4642391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518E"/>
                </a:solidFill>
              </a:rPr>
              <a:t>УТВЕРЖДЕН КОМПЛЕКСНЫЙ ПЛАН ПО РАЗВИТИЮ САХАРНОЙ ОТРАСЛИ</a:t>
            </a:r>
            <a:endParaRPr lang="ru-RU" b="1" dirty="0">
              <a:solidFill>
                <a:srgbClr val="00518E"/>
              </a:solidFill>
            </a:endParaRPr>
          </a:p>
        </p:txBody>
      </p:sp>
      <p:sp>
        <p:nvSpPr>
          <p:cNvPr id="85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1934116" y="-652113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002690" y="-1333945"/>
            <a:ext cx="45719" cy="3735640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4020043" y="507843"/>
            <a:ext cx="5043368" cy="707886"/>
          </a:xfrm>
          <a:prstGeom prst="rect">
            <a:avLst/>
          </a:prstGeom>
          <a:noFill/>
          <a:ln w="19050">
            <a:solidFill>
              <a:srgbClr val="00518E"/>
            </a:solidFill>
            <a:prstDash val="sysDot"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latin typeface="Century Gothic" panose="020B0502020202020204" pitchFamily="34" charset="0"/>
              </a:rPr>
              <a:t>предусматривает расширение посевных площадей, ввод новых орошаемых земель, внедрение </a:t>
            </a:r>
            <a:r>
              <a:rPr lang="ru-RU" sz="1000" dirty="0" err="1">
                <a:latin typeface="Century Gothic" panose="020B0502020202020204" pitchFamily="34" charset="0"/>
              </a:rPr>
              <a:t>водосберегающих</a:t>
            </a:r>
            <a:r>
              <a:rPr lang="ru-RU" sz="1000" dirty="0">
                <a:latin typeface="Century Gothic" panose="020B0502020202020204" pitchFamily="34" charset="0"/>
              </a:rPr>
              <a:t> технологий полива, развитие семеноводства, а также строительство нового инновационного завода</a:t>
            </a:r>
            <a:endParaRPr lang="kk-KZ" sz="1000" dirty="0" smtClean="0">
              <a:latin typeface="Century Gothic" panose="020B0502020202020204" pitchFamily="34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887227" y="1526702"/>
            <a:ext cx="2100597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ДОВЕДЕНИЕ ПЛОЩАДЕЙ ПОСЕВА САХАРНОЙ СВЕКЛЫ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89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323528" y="3879511"/>
            <a:ext cx="8615858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ПРОРАБАТЫВАЕТСЯ ВОПРОС УВЕЛИЧЕНИЯ НОРМАТИВА ВОЗМЕЩЕНИЯ </a:t>
            </a:r>
            <a:r>
              <a:rPr lang="ru-RU" sz="1200" b="1" dirty="0" smtClean="0">
                <a:solidFill>
                  <a:srgbClr val="00518E"/>
                </a:solidFill>
                <a:ea typeface="+mn-lt"/>
                <a:cs typeface="Arial" pitchFamily="34" charset="0"/>
              </a:rPr>
              <a:t>ДО 50% </a:t>
            </a:r>
            <a:r>
              <a:rPr lang="ru-RU" sz="1200" b="1" dirty="0" smtClean="0">
                <a:solidFill>
                  <a:srgbClr val="000000"/>
                </a:solidFill>
                <a:ea typeface="+mn-lt"/>
                <a:cs typeface="Arial" pitchFamily="34" charset="0"/>
              </a:rPr>
              <a:t>НА ПРИОБРЕТЕНИЕ СВЕКЛОУБОРОЧНЫХ КОМБАЙНОВ, СЕЯЛОК И БОТВОРЕЗОВ.</a:t>
            </a:r>
          </a:p>
        </p:txBody>
      </p:sp>
      <p:sp>
        <p:nvSpPr>
          <p:cNvPr id="90" name="Нашивка 89"/>
          <p:cNvSpPr/>
          <p:nvPr/>
        </p:nvSpPr>
        <p:spPr>
          <a:xfrm>
            <a:off x="182864" y="3876882"/>
            <a:ext cx="8756522" cy="452030"/>
          </a:xfrm>
          <a:prstGeom prst="chevron">
            <a:avLst>
              <a:gd name="adj" fmla="val 0"/>
            </a:avLst>
          </a:prstGeom>
          <a:noFill/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1" name="Нашивка 90"/>
          <p:cNvSpPr/>
          <p:nvPr/>
        </p:nvSpPr>
        <p:spPr>
          <a:xfrm>
            <a:off x="132424" y="4508654"/>
            <a:ext cx="8885724" cy="452030"/>
          </a:xfrm>
          <a:prstGeom prst="chevron">
            <a:avLst>
              <a:gd name="adj" fmla="val 0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r"/>
            <a:endParaRPr lang="ru-RU" sz="1050" b="1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92" name="TextBox 167">
            <a:extLst>
              <a:ext uri="{FF2B5EF4-FFF2-40B4-BE49-F238E27FC236}">
                <a16:creationId xmlns:lc="http://schemas.openxmlformats.org/drawingml/2006/lockedCanvas" xmlns="" xmlns:a16="http://schemas.microsoft.com/office/drawing/2014/main" id="{2AE6F9CA-9CF4-40CA-BF0F-489F4CE7346A}"/>
              </a:ext>
            </a:extLst>
          </p:cNvPr>
          <p:cNvSpPr txBox="1"/>
          <p:nvPr/>
        </p:nvSpPr>
        <p:spPr>
          <a:xfrm>
            <a:off x="305576" y="4607689"/>
            <a:ext cx="837088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685448">
              <a:defRPr/>
            </a:pPr>
            <a:r>
              <a:rPr lang="ru-RU" sz="1200" b="1" i="1" dirty="0" smtClean="0">
                <a:solidFill>
                  <a:schemeClr val="bg1"/>
                </a:solidFill>
                <a:ea typeface="+mn-lt"/>
                <a:cs typeface="Arial" pitchFamily="34" charset="0"/>
              </a:rPr>
              <a:t>В ТЕКУЩЕМ ГОДУ ПОСЕВНЫЕ ПЛОЩАДИ САХАРНОЙ СВЕКЛЫ УВЕЛИЧЕНЫ НА 7,4 ТЫС. ГА И ДОВЕСТИ </a:t>
            </a:r>
            <a:r>
              <a:rPr lang="ru-RU" sz="1200" b="1" i="1" smtClean="0">
                <a:solidFill>
                  <a:schemeClr val="bg1"/>
                </a:solidFill>
                <a:ea typeface="+mn-lt"/>
                <a:cs typeface="Arial" pitchFamily="34" charset="0"/>
              </a:rPr>
              <a:t>ДО 19,0 </a:t>
            </a:r>
            <a:r>
              <a:rPr lang="ru-RU" sz="1200" b="1" i="1" dirty="0" smtClean="0">
                <a:solidFill>
                  <a:schemeClr val="bg1"/>
                </a:solidFill>
                <a:ea typeface="+mn-lt"/>
                <a:cs typeface="Arial" pitchFamily="34" charset="0"/>
              </a:rPr>
              <a:t>ТЫС. ГА </a:t>
            </a:r>
          </a:p>
        </p:txBody>
      </p:sp>
      <p:sp>
        <p:nvSpPr>
          <p:cNvPr id="93" name="Прямоугольник 92">
            <a:extLst>
              <a:ext uri="{FF2B5EF4-FFF2-40B4-BE49-F238E27FC236}">
                <a16:creationId xmlns:a16="http://schemas.microsoft.com/office/drawing/2014/main" xmlns="" id="{10E30B65-2A54-4DD8-8A24-FBDD0BDF567A}"/>
              </a:ext>
            </a:extLst>
          </p:cNvPr>
          <p:cNvSpPr/>
          <p:nvPr/>
        </p:nvSpPr>
        <p:spPr bwMode="auto">
          <a:xfrm>
            <a:off x="2968152" y="2681100"/>
            <a:ext cx="6095259" cy="868653"/>
          </a:xfrm>
          <a:prstGeom prst="rect">
            <a:avLst/>
          </a:prstGeom>
          <a:solidFill>
            <a:srgbClr val="E7E6E6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968153" y="2757596"/>
            <a:ext cx="6049996" cy="848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УВЕЛИЧЕНЫ ЗАКУПОЧНЫЕ ЦЕНЫ САХАРНОЙ СВЕКЛЫ, А ТАКЖЕ РАЗМЕР СУБСИДИИ.  ТАК САХАРНЫЕ ЗАВОДЫ ПЛАТЯТ 15 ТЫС. ТЕНГЕ ЗА ТОННУ, А ГОСУДАРСТВО ВЫПЛАЧИВАЕТ 25 ТЫС. ТЕНГЕ СУБСИДИИ ЗА ТОННУ.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1608" y="2073499"/>
            <a:ext cx="1300472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ТЫС. Г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2868400" y="1342126"/>
            <a:ext cx="14320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250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4166931" y="1503864"/>
            <a:ext cx="2658014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ДОВЕДЕНИЕ ПРОИЗВОДСТВО САХАРА ИЗ ОТЕЧЕСТВЕННОГО СЫРЬЯ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078085" y="2058321"/>
            <a:ext cx="1300472" cy="3311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ТЫС. ТОНН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0" name="Нашивка 29"/>
          <p:cNvSpPr/>
          <p:nvPr/>
        </p:nvSpPr>
        <p:spPr>
          <a:xfrm>
            <a:off x="6978348" y="1347615"/>
            <a:ext cx="1023512" cy="556254"/>
          </a:xfrm>
          <a:prstGeom prst="chevron">
            <a:avLst>
              <a:gd name="adj" fmla="val 26755"/>
            </a:avLst>
          </a:prstGeom>
          <a:solidFill>
            <a:srgbClr val="C00000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1" name="object 10"/>
          <p:cNvSpPr txBox="1"/>
          <p:nvPr/>
        </p:nvSpPr>
        <p:spPr>
          <a:xfrm>
            <a:off x="-333268" y="1313289"/>
            <a:ext cx="15558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i="1" dirty="0" smtClean="0">
                <a:latin typeface="Arial Narrow"/>
                <a:cs typeface="Arial Narrow"/>
              </a:rPr>
              <a:t>К 2026 году</a:t>
            </a:r>
            <a:endParaRPr lang="ru-RU" sz="1200" dirty="0">
              <a:latin typeface="Arial Narrow"/>
              <a:cs typeface="Arial Narrow"/>
            </a:endParaRPr>
          </a:p>
        </p:txBody>
      </p:sp>
      <p:sp>
        <p:nvSpPr>
          <p:cNvPr id="32" name="Нашивка 31"/>
          <p:cNvSpPr/>
          <p:nvPr/>
        </p:nvSpPr>
        <p:spPr>
          <a:xfrm>
            <a:off x="7828421" y="1567083"/>
            <a:ext cx="1110965" cy="537945"/>
          </a:xfrm>
          <a:prstGeom prst="chevron">
            <a:avLst>
              <a:gd name="adj" fmla="val 26755"/>
            </a:avLst>
          </a:prstGeom>
          <a:solidFill>
            <a:srgbClr val="00518E"/>
          </a:solidFill>
          <a:ln>
            <a:solidFill>
              <a:srgbClr val="00518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 sz="1050" b="1" i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33" name="object 10"/>
          <p:cNvSpPr txBox="1"/>
          <p:nvPr/>
        </p:nvSpPr>
        <p:spPr>
          <a:xfrm>
            <a:off x="7641501" y="1591654"/>
            <a:ext cx="144624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17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4" name="object 10"/>
          <p:cNvSpPr txBox="1"/>
          <p:nvPr/>
        </p:nvSpPr>
        <p:spPr>
          <a:xfrm>
            <a:off x="6971292" y="1413245"/>
            <a:ext cx="101740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5880" algn="ctr">
              <a:lnSpc>
                <a:spcPct val="100000"/>
              </a:lnSpc>
            </a:pPr>
            <a:r>
              <a:rPr lang="ru-RU" sz="2800" b="1" spc="-10" dirty="0" smtClean="0">
                <a:solidFill>
                  <a:schemeClr val="bg1"/>
                </a:solidFill>
                <a:latin typeface="Century Gothic"/>
                <a:cs typeface="Century Gothic"/>
              </a:rPr>
              <a:t>58%</a:t>
            </a:r>
            <a:endParaRPr sz="1000" dirty="0">
              <a:solidFill>
                <a:schemeClr val="bg1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882538" y="2122246"/>
            <a:ext cx="2658014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sz="1400" b="1" dirty="0" smtClean="0">
                <a:solidFill>
                  <a:srgbClr val="00518E"/>
                </a:solidFill>
              </a:rPr>
              <a:t>СНИЖЕНИЕ ДОЛИ ИМПОРТА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C3AB00F7-FF8F-413E-BF15-320F4ACBFC88}"/>
              </a:ext>
            </a:extLst>
          </p:cNvPr>
          <p:cNvSpPr/>
          <p:nvPr/>
        </p:nvSpPr>
        <p:spPr>
          <a:xfrm>
            <a:off x="-468560" y="2660083"/>
            <a:ext cx="38884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с 25 до </a:t>
            </a:r>
            <a:r>
              <a:rPr lang="ru-RU" sz="48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40 </a:t>
            </a:r>
            <a:r>
              <a:rPr lang="ru-RU" sz="1400" b="1" dirty="0" smtClean="0">
                <a:solidFill>
                  <a:srgbClr val="00518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Arial" charset="0"/>
              </a:rPr>
              <a:t>тыс. тенге</a:t>
            </a:r>
            <a:endParaRPr lang="ru-RU" sz="3200" b="1" dirty="0">
              <a:solidFill>
                <a:srgbClr val="00518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Arial" charset="0"/>
            </a:endParaRP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1DC7E6F5-717C-4676-BD89-ACA68655BBEF}"/>
              </a:ext>
            </a:extLst>
          </p:cNvPr>
          <p:cNvCxnSpPr>
            <a:cxnSpLocks/>
          </p:cNvCxnSpPr>
          <p:nvPr/>
        </p:nvCxnSpPr>
        <p:spPr>
          <a:xfrm flipH="1">
            <a:off x="157730" y="2568521"/>
            <a:ext cx="8905681" cy="1"/>
          </a:xfrm>
          <a:prstGeom prst="line">
            <a:avLst/>
          </a:prstGeom>
          <a:ln w="19050">
            <a:solidFill>
              <a:srgbClr val="0070C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3512427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>
            <a:off x="593319" y="416959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/>
          <p:cNvCxnSpPr/>
          <p:nvPr/>
        </p:nvCxnSpPr>
        <p:spPr>
          <a:xfrm>
            <a:off x="608521" y="2670298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791124" y="164003"/>
            <a:ext cx="45719" cy="4236116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2827126" y="583003"/>
            <a:ext cx="45719" cy="4164108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0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397729" y="2248011"/>
            <a:ext cx="468686" cy="48575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38" name="Номер слайда 1"/>
          <p:cNvSpPr txBox="1">
            <a:spLocks/>
          </p:cNvSpPr>
          <p:nvPr/>
        </p:nvSpPr>
        <p:spPr>
          <a:xfrm>
            <a:off x="7006011" y="222201"/>
            <a:ext cx="2057400" cy="206003"/>
          </a:xfrm>
          <a:prstGeom prst="rect">
            <a:avLst/>
          </a:prstGeom>
        </p:spPr>
        <p:txBody>
          <a:bodyPr vert="horz" lIns="68594" tIns="34298" rIns="68594" bIns="34298" rtlCol="0" anchor="ctr"/>
          <a:lstStyle>
            <a:defPPr>
              <a:defRPr lang="en-US"/>
            </a:defPPr>
            <a:lvl1pPr marL="0" algn="r" defTabSz="432054" rtl="0" eaLnBrk="1" latinLnBrk="0" hangingPunct="1">
              <a:defRPr sz="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27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54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81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108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135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96162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189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28216" algn="l" defTabSz="432054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900" b="1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xmlns="" id="{EB963273-7DA1-492B-9C4D-190B6D84AFDF}"/>
              </a:ext>
            </a:extLst>
          </p:cNvPr>
          <p:cNvSpPr/>
          <p:nvPr/>
        </p:nvSpPr>
        <p:spPr>
          <a:xfrm>
            <a:off x="548208" y="-56232"/>
            <a:ext cx="7696200" cy="5397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rgbClr val="00518E"/>
                </a:solidFill>
                <a:latin typeface="+mj-lt"/>
                <a:cs typeface="Arial" panose="020B0604020202020204" pitchFamily="34" charset="0"/>
              </a:rPr>
              <a:t>ПРОИЗВОДСТВО САХАРА</a:t>
            </a:r>
            <a:endParaRPr lang="ru-RU" sz="1600" b="1" dirty="0">
              <a:solidFill>
                <a:srgbClr val="00518E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2FA28DA1-69AB-40ED-BA3A-BDED7E882252}"/>
              </a:ext>
            </a:extLst>
          </p:cNvPr>
          <p:cNvCxnSpPr>
            <a:cxnSpLocks/>
          </p:cNvCxnSpPr>
          <p:nvPr/>
        </p:nvCxnSpPr>
        <p:spPr>
          <a:xfrm>
            <a:off x="107504" y="339502"/>
            <a:ext cx="8928992" cy="0"/>
          </a:xfrm>
          <a:prstGeom prst="line">
            <a:avLst/>
          </a:prstGeom>
          <a:ln w="12700">
            <a:solidFill>
              <a:srgbClr val="0070C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ый треугольник 110"/>
          <p:cNvSpPr/>
          <p:nvPr/>
        </p:nvSpPr>
        <p:spPr bwMode="auto">
          <a:xfrm rot="5400000">
            <a:off x="9354776" y="1460071"/>
            <a:ext cx="108382" cy="109833"/>
          </a:xfrm>
          <a:prstGeom prst="rtTriangle">
            <a:avLst/>
          </a:prstGeom>
          <a:solidFill>
            <a:schemeClr val="bg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59" name="Рисунок 3">
            <a:extLst>
              <a:ext uri="{FF2B5EF4-FFF2-40B4-BE49-F238E27FC236}">
                <a16:creationId xmlns:a16="http://schemas.microsoft.com/office/drawing/2014/main" xmlns="" id="{1FBD34FE-62F2-4658-BD07-3078E67CB02F}"/>
              </a:ext>
            </a:extLst>
          </p:cNvPr>
          <p:cNvGrpSpPr/>
          <p:nvPr/>
        </p:nvGrpSpPr>
        <p:grpSpPr>
          <a:xfrm>
            <a:off x="0" y="428204"/>
            <a:ext cx="2763416" cy="1691261"/>
            <a:chOff x="1654576" y="900476"/>
            <a:chExt cx="5833334" cy="3343275"/>
          </a:xfrm>
          <a:solidFill>
            <a:schemeClr val="accent1"/>
          </a:solidFill>
        </p:grpSpPr>
        <p:sp>
          <p:nvSpPr>
            <p:cNvPr id="60" name="Полилиния: фигура 7">
              <a:extLst>
                <a:ext uri="{FF2B5EF4-FFF2-40B4-BE49-F238E27FC236}">
                  <a16:creationId xmlns:a16="http://schemas.microsoft.com/office/drawing/2014/main" xmlns="" id="{693FDFD4-4B2A-4B32-A638-4866FCFFC1BD}"/>
                </a:ext>
              </a:extLst>
            </p:cNvPr>
            <p:cNvSpPr/>
            <p:nvPr/>
          </p:nvSpPr>
          <p:spPr>
            <a:xfrm>
              <a:off x="1654576" y="1691482"/>
              <a:ext cx="1216287" cy="807832"/>
            </a:xfrm>
            <a:custGeom>
              <a:avLst/>
              <a:gdLst>
                <a:gd name="connsiteX0" fmla="*/ 477680 w 1216286"/>
                <a:gd name="connsiteY0" fmla="*/ 810679 h 807832"/>
                <a:gd name="connsiteX1" fmla="*/ 541762 w 1216286"/>
                <a:gd name="connsiteY1" fmla="*/ 749563 h 807832"/>
                <a:gd name="connsiteX2" fmla="*/ 703449 w 1216286"/>
                <a:gd name="connsiteY2" fmla="*/ 682516 h 807832"/>
                <a:gd name="connsiteX3" fmla="*/ 755701 w 1216286"/>
                <a:gd name="connsiteY3" fmla="*/ 696312 h 807832"/>
                <a:gd name="connsiteX4" fmla="*/ 758666 w 1216286"/>
                <a:gd name="connsiteY4" fmla="*/ 720971 h 807832"/>
                <a:gd name="connsiteX5" fmla="*/ 867134 w 1216286"/>
                <a:gd name="connsiteY5" fmla="*/ 754494 h 807832"/>
                <a:gd name="connsiteX6" fmla="*/ 879962 w 1216286"/>
                <a:gd name="connsiteY6" fmla="*/ 705207 h 807832"/>
                <a:gd name="connsiteX7" fmla="*/ 924317 w 1216286"/>
                <a:gd name="connsiteY7" fmla="*/ 634227 h 807832"/>
                <a:gd name="connsiteX8" fmla="*/ 1016991 w 1216286"/>
                <a:gd name="connsiteY8" fmla="*/ 639159 h 807832"/>
                <a:gd name="connsiteX9" fmla="*/ 1050515 w 1216286"/>
                <a:gd name="connsiteY9" fmla="*/ 592807 h 807832"/>
                <a:gd name="connsiteX10" fmla="*/ 1057413 w 1216286"/>
                <a:gd name="connsiteY10" fmla="*/ 544488 h 807832"/>
                <a:gd name="connsiteX11" fmla="*/ 1106700 w 1216286"/>
                <a:gd name="connsiteY11" fmla="*/ 517863 h 807832"/>
                <a:gd name="connsiteX12" fmla="*/ 1115565 w 1216286"/>
                <a:gd name="connsiteY12" fmla="*/ 526728 h 807832"/>
                <a:gd name="connsiteX13" fmla="*/ 1178679 w 1216286"/>
                <a:gd name="connsiteY13" fmla="*/ 518831 h 807832"/>
                <a:gd name="connsiteX14" fmla="*/ 1179677 w 1216286"/>
                <a:gd name="connsiteY14" fmla="*/ 476443 h 807832"/>
                <a:gd name="connsiteX15" fmla="*/ 1214199 w 1216286"/>
                <a:gd name="connsiteY15" fmla="*/ 427156 h 807832"/>
                <a:gd name="connsiteX16" fmla="*/ 1180675 w 1216286"/>
                <a:gd name="connsiteY16" fmla="*/ 355177 h 807832"/>
                <a:gd name="connsiteX17" fmla="*/ 1205485 w 1216286"/>
                <a:gd name="connsiteY17" fmla="*/ 305527 h 807832"/>
                <a:gd name="connsiteX18" fmla="*/ 1204578 w 1216286"/>
                <a:gd name="connsiteY18" fmla="*/ 297630 h 807832"/>
                <a:gd name="connsiteX19" fmla="*/ 1218616 w 1216286"/>
                <a:gd name="connsiteY19" fmla="*/ 252882 h 807832"/>
                <a:gd name="connsiteX20" fmla="*/ 1179798 w 1216286"/>
                <a:gd name="connsiteY20" fmla="*/ 226257 h 807832"/>
                <a:gd name="connsiteX21" fmla="*/ 1154292 w 1216286"/>
                <a:gd name="connsiteY21" fmla="*/ 174489 h 807832"/>
                <a:gd name="connsiteX22" fmla="*/ 1119528 w 1216286"/>
                <a:gd name="connsiteY22" fmla="*/ 163022 h 807832"/>
                <a:gd name="connsiteX23" fmla="*/ 1103644 w 1216286"/>
                <a:gd name="connsiteY23" fmla="*/ 142327 h 807832"/>
                <a:gd name="connsiteX24" fmla="*/ 1105126 w 1216286"/>
                <a:gd name="connsiteY24" fmla="*/ 129014 h 807832"/>
                <a:gd name="connsiteX25" fmla="*/ 1099590 w 1216286"/>
                <a:gd name="connsiteY25" fmla="*/ 114976 h 807832"/>
                <a:gd name="connsiteX26" fmla="*/ 1080740 w 1216286"/>
                <a:gd name="connsiteY26" fmla="*/ 107200 h 807832"/>
                <a:gd name="connsiteX27" fmla="*/ 1048941 w 1216286"/>
                <a:gd name="connsiteY27" fmla="*/ 86112 h 807832"/>
                <a:gd name="connsiteX28" fmla="*/ 1008277 w 1216286"/>
                <a:gd name="connsiteY28" fmla="*/ 92405 h 807832"/>
                <a:gd name="connsiteX29" fmla="*/ 987945 w 1216286"/>
                <a:gd name="connsiteY29" fmla="*/ 83146 h 807832"/>
                <a:gd name="connsiteX30" fmla="*/ 961683 w 1216286"/>
                <a:gd name="connsiteY30" fmla="*/ 90166 h 807832"/>
                <a:gd name="connsiteX31" fmla="*/ 946525 w 1216286"/>
                <a:gd name="connsiteY31" fmla="*/ 64297 h 807832"/>
                <a:gd name="connsiteX32" fmla="*/ 935421 w 1216286"/>
                <a:gd name="connsiteY32" fmla="*/ 28807 h 807832"/>
                <a:gd name="connsiteX33" fmla="*/ 913607 w 1216286"/>
                <a:gd name="connsiteY33" fmla="*/ 28081 h 807832"/>
                <a:gd name="connsiteX34" fmla="*/ 912124 w 1216286"/>
                <a:gd name="connsiteY34" fmla="*/ 36946 h 807832"/>
                <a:gd name="connsiteX35" fmla="*/ 901020 w 1216286"/>
                <a:gd name="connsiteY35" fmla="*/ 40274 h 807832"/>
                <a:gd name="connsiteX36" fmla="*/ 891580 w 1216286"/>
                <a:gd name="connsiteY36" fmla="*/ 37127 h 807832"/>
                <a:gd name="connsiteX37" fmla="*/ 865318 w 1216286"/>
                <a:gd name="connsiteY37" fmla="*/ 39729 h 807832"/>
                <a:gd name="connsiteX38" fmla="*/ 848678 w 1216286"/>
                <a:gd name="connsiteY38" fmla="*/ 59517 h 807832"/>
                <a:gd name="connsiteX39" fmla="*/ 851068 w 1216286"/>
                <a:gd name="connsiteY39" fmla="*/ 75219 h 807832"/>
                <a:gd name="connsiteX40" fmla="*/ 832581 w 1216286"/>
                <a:gd name="connsiteY40" fmla="*/ 78729 h 807832"/>
                <a:gd name="connsiteX41" fmla="*/ 823716 w 1216286"/>
                <a:gd name="connsiteY41" fmla="*/ 65961 h 807832"/>
                <a:gd name="connsiteX42" fmla="*/ 807076 w 1216286"/>
                <a:gd name="connsiteY42" fmla="*/ 71316 h 807832"/>
                <a:gd name="connsiteX43" fmla="*/ 782296 w 1216286"/>
                <a:gd name="connsiteY43" fmla="*/ 66869 h 807832"/>
                <a:gd name="connsiteX44" fmla="*/ 783597 w 1216286"/>
                <a:gd name="connsiteY44" fmla="*/ 53919 h 807832"/>
                <a:gd name="connsiteX45" fmla="*/ 798574 w 1216286"/>
                <a:gd name="connsiteY45" fmla="*/ 50046 h 807832"/>
                <a:gd name="connsiteX46" fmla="*/ 799512 w 1216286"/>
                <a:gd name="connsiteY46" fmla="*/ 34888 h 807832"/>
                <a:gd name="connsiteX47" fmla="*/ 764566 w 1216286"/>
                <a:gd name="connsiteY47" fmla="*/ 23603 h 807832"/>
                <a:gd name="connsiteX48" fmla="*/ 734976 w 1216286"/>
                <a:gd name="connsiteY48" fmla="*/ 17673 h 807832"/>
                <a:gd name="connsiteX49" fmla="*/ 729046 w 1216286"/>
                <a:gd name="connsiteY49" fmla="*/ 2878 h 807832"/>
                <a:gd name="connsiteX50" fmla="*/ 716490 w 1216286"/>
                <a:gd name="connsiteY50" fmla="*/ 1395 h 807832"/>
                <a:gd name="connsiteX51" fmla="*/ 717972 w 1216286"/>
                <a:gd name="connsiteY51" fmla="*/ 36885 h 807832"/>
                <a:gd name="connsiteX52" fmla="*/ 703933 w 1216286"/>
                <a:gd name="connsiteY52" fmla="*/ 40576 h 807832"/>
                <a:gd name="connsiteX53" fmla="*/ 703207 w 1216286"/>
                <a:gd name="connsiteY53" fmla="*/ 25055 h 807832"/>
                <a:gd name="connsiteX54" fmla="*/ 681030 w 1216286"/>
                <a:gd name="connsiteY54" fmla="*/ 40576 h 807832"/>
                <a:gd name="connsiteX55" fmla="*/ 678821 w 1216286"/>
                <a:gd name="connsiteY55" fmla="*/ 63510 h 807832"/>
                <a:gd name="connsiteX56" fmla="*/ 647022 w 1216286"/>
                <a:gd name="connsiteY56" fmla="*/ 72436 h 807832"/>
                <a:gd name="connsiteX57" fmla="*/ 647748 w 1216286"/>
                <a:gd name="connsiteY57" fmla="*/ 88714 h 807832"/>
                <a:gd name="connsiteX58" fmla="*/ 604119 w 1216286"/>
                <a:gd name="connsiteY58" fmla="*/ 98335 h 807832"/>
                <a:gd name="connsiteX59" fmla="*/ 562699 w 1216286"/>
                <a:gd name="connsiteY59" fmla="*/ 120513 h 807832"/>
                <a:gd name="connsiteX60" fmla="*/ 521279 w 1216286"/>
                <a:gd name="connsiteY60" fmla="*/ 112374 h 807832"/>
                <a:gd name="connsiteX61" fmla="*/ 495410 w 1216286"/>
                <a:gd name="connsiteY61" fmla="*/ 147138 h 807832"/>
                <a:gd name="connsiteX62" fmla="*/ 502792 w 1216286"/>
                <a:gd name="connsiteY62" fmla="*/ 179663 h 807832"/>
                <a:gd name="connsiteX63" fmla="*/ 465093 w 1216286"/>
                <a:gd name="connsiteY63" fmla="*/ 186319 h 807832"/>
                <a:gd name="connsiteX64" fmla="*/ 409634 w 1216286"/>
                <a:gd name="connsiteY64" fmla="*/ 228466 h 807832"/>
                <a:gd name="connsiteX65" fmla="*/ 380044 w 1216286"/>
                <a:gd name="connsiteY65" fmla="*/ 216635 h 807832"/>
                <a:gd name="connsiteX66" fmla="*/ 381527 w 1216286"/>
                <a:gd name="connsiteY66" fmla="*/ 305376 h 807832"/>
                <a:gd name="connsiteX67" fmla="*/ 390392 w 1216286"/>
                <a:gd name="connsiteY67" fmla="*/ 320897 h 807832"/>
                <a:gd name="connsiteX68" fmla="*/ 382253 w 1216286"/>
                <a:gd name="connsiteY68" fmla="*/ 333453 h 807832"/>
                <a:gd name="connsiteX69" fmla="*/ 400739 w 1216286"/>
                <a:gd name="connsiteY69" fmla="*/ 357870 h 807832"/>
                <a:gd name="connsiteX70" fmla="*/ 329759 w 1216286"/>
                <a:gd name="connsiteY70" fmla="*/ 397808 h 807832"/>
                <a:gd name="connsiteX71" fmla="*/ 317203 w 1216286"/>
                <a:gd name="connsiteY71" fmla="*/ 377113 h 807832"/>
                <a:gd name="connsiteX72" fmla="*/ 297990 w 1216286"/>
                <a:gd name="connsiteY72" fmla="*/ 379321 h 807832"/>
                <a:gd name="connsiteX73" fmla="*/ 297264 w 1216286"/>
                <a:gd name="connsiteY73" fmla="*/ 329036 h 807832"/>
                <a:gd name="connsiteX74" fmla="*/ 232184 w 1216286"/>
                <a:gd name="connsiteY74" fmla="*/ 231431 h 807832"/>
                <a:gd name="connsiteX75" fmla="*/ 180416 w 1216286"/>
                <a:gd name="connsiteY75" fmla="*/ 278751 h 807832"/>
                <a:gd name="connsiteX76" fmla="*/ 192246 w 1216286"/>
                <a:gd name="connsiteY76" fmla="*/ 303893 h 807832"/>
                <a:gd name="connsiteX77" fmla="*/ 153065 w 1216286"/>
                <a:gd name="connsiteY77" fmla="*/ 339384 h 807832"/>
                <a:gd name="connsiteX78" fmla="*/ 115366 w 1216286"/>
                <a:gd name="connsiteY78" fmla="*/ 347522 h 807832"/>
                <a:gd name="connsiteX79" fmla="*/ 80602 w 1216286"/>
                <a:gd name="connsiteY79" fmla="*/ 460649 h 807832"/>
                <a:gd name="connsiteX80" fmla="*/ 108709 w 1216286"/>
                <a:gd name="connsiteY80" fmla="*/ 485066 h 807832"/>
                <a:gd name="connsiteX81" fmla="*/ 109436 w 1216286"/>
                <a:gd name="connsiteY81" fmla="*/ 522765 h 807832"/>
                <a:gd name="connsiteX82" fmla="*/ 70980 w 1216286"/>
                <a:gd name="connsiteY82" fmla="*/ 541977 h 807832"/>
                <a:gd name="connsiteX83" fmla="*/ 51768 w 1216286"/>
                <a:gd name="connsiteY83" fmla="*/ 541977 h 807832"/>
                <a:gd name="connsiteX84" fmla="*/ 0 w 1216286"/>
                <a:gd name="connsiteY84" fmla="*/ 649930 h 807832"/>
                <a:gd name="connsiteX85" fmla="*/ 75428 w 1216286"/>
                <a:gd name="connsiteY85" fmla="*/ 700941 h 807832"/>
                <a:gd name="connsiteX86" fmla="*/ 74066 w 1216286"/>
                <a:gd name="connsiteY86" fmla="*/ 705873 h 807832"/>
                <a:gd name="connsiteX87" fmla="*/ 379590 w 1216286"/>
                <a:gd name="connsiteY87" fmla="*/ 810679 h 807832"/>
                <a:gd name="connsiteX88" fmla="*/ 477680 w 1216286"/>
                <a:gd name="connsiteY88" fmla="*/ 810679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216286" h="807832">
                  <a:moveTo>
                    <a:pt x="477680" y="810679"/>
                  </a:moveTo>
                  <a:lnTo>
                    <a:pt x="541762" y="749563"/>
                  </a:lnTo>
                  <a:lnTo>
                    <a:pt x="703449" y="682516"/>
                  </a:lnTo>
                  <a:lnTo>
                    <a:pt x="755701" y="696312"/>
                  </a:lnTo>
                  <a:lnTo>
                    <a:pt x="758666" y="720971"/>
                  </a:lnTo>
                  <a:lnTo>
                    <a:pt x="867134" y="754494"/>
                  </a:lnTo>
                  <a:lnTo>
                    <a:pt x="879962" y="705207"/>
                  </a:lnTo>
                  <a:lnTo>
                    <a:pt x="924317" y="634227"/>
                  </a:lnTo>
                  <a:lnTo>
                    <a:pt x="1016991" y="639159"/>
                  </a:lnTo>
                  <a:lnTo>
                    <a:pt x="1050515" y="592807"/>
                  </a:lnTo>
                  <a:lnTo>
                    <a:pt x="1057413" y="544488"/>
                  </a:lnTo>
                  <a:lnTo>
                    <a:pt x="1106700" y="517863"/>
                  </a:lnTo>
                  <a:lnTo>
                    <a:pt x="1115565" y="526728"/>
                  </a:lnTo>
                  <a:lnTo>
                    <a:pt x="1178679" y="518831"/>
                  </a:lnTo>
                  <a:lnTo>
                    <a:pt x="1179677" y="476443"/>
                  </a:lnTo>
                  <a:lnTo>
                    <a:pt x="1214199" y="427156"/>
                  </a:lnTo>
                  <a:lnTo>
                    <a:pt x="1180675" y="355177"/>
                  </a:lnTo>
                  <a:lnTo>
                    <a:pt x="1205485" y="305527"/>
                  </a:lnTo>
                  <a:cubicBezTo>
                    <a:pt x="1204941" y="302744"/>
                    <a:pt x="1204638" y="299990"/>
                    <a:pt x="1204578" y="297630"/>
                  </a:cubicBezTo>
                  <a:cubicBezTo>
                    <a:pt x="1203821" y="274485"/>
                    <a:pt x="1222217" y="266558"/>
                    <a:pt x="1218616" y="252882"/>
                  </a:cubicBezTo>
                  <a:cubicBezTo>
                    <a:pt x="1215046" y="239358"/>
                    <a:pt x="1196318" y="244350"/>
                    <a:pt x="1179798" y="226257"/>
                  </a:cubicBezTo>
                  <a:cubicBezTo>
                    <a:pt x="1161312" y="206016"/>
                    <a:pt x="1172022" y="185775"/>
                    <a:pt x="1154292" y="174489"/>
                  </a:cubicBezTo>
                  <a:cubicBezTo>
                    <a:pt x="1142825" y="167228"/>
                    <a:pt x="1135352" y="173733"/>
                    <a:pt x="1119528" y="163022"/>
                  </a:cubicBezTo>
                  <a:cubicBezTo>
                    <a:pt x="1114990" y="159936"/>
                    <a:pt x="1104037" y="152523"/>
                    <a:pt x="1103644" y="142327"/>
                  </a:cubicBezTo>
                  <a:cubicBezTo>
                    <a:pt x="1103462" y="137516"/>
                    <a:pt x="1105732" y="135610"/>
                    <a:pt x="1105126" y="129014"/>
                  </a:cubicBezTo>
                  <a:cubicBezTo>
                    <a:pt x="1104945" y="127078"/>
                    <a:pt x="1104067" y="120119"/>
                    <a:pt x="1099590" y="114976"/>
                  </a:cubicBezTo>
                  <a:cubicBezTo>
                    <a:pt x="1094628" y="109257"/>
                    <a:pt x="1088425" y="109469"/>
                    <a:pt x="1080740" y="107200"/>
                  </a:cubicBezTo>
                  <a:cubicBezTo>
                    <a:pt x="1061437" y="101512"/>
                    <a:pt x="1063525" y="89379"/>
                    <a:pt x="1048941" y="86112"/>
                  </a:cubicBezTo>
                  <a:cubicBezTo>
                    <a:pt x="1032391" y="82420"/>
                    <a:pt x="1025826" y="97276"/>
                    <a:pt x="1008277" y="92405"/>
                  </a:cubicBezTo>
                  <a:cubicBezTo>
                    <a:pt x="998051" y="89561"/>
                    <a:pt x="997476" y="83752"/>
                    <a:pt x="987945" y="83146"/>
                  </a:cubicBezTo>
                  <a:cubicBezTo>
                    <a:pt x="974996" y="82330"/>
                    <a:pt x="970215" y="92647"/>
                    <a:pt x="961683" y="90166"/>
                  </a:cubicBezTo>
                  <a:cubicBezTo>
                    <a:pt x="954089" y="87957"/>
                    <a:pt x="950791" y="77670"/>
                    <a:pt x="946525" y="64297"/>
                  </a:cubicBezTo>
                  <a:cubicBezTo>
                    <a:pt x="939808" y="43239"/>
                    <a:pt x="943197" y="34707"/>
                    <a:pt x="935421" y="28807"/>
                  </a:cubicBezTo>
                  <a:cubicBezTo>
                    <a:pt x="928250" y="23361"/>
                    <a:pt x="916421" y="23815"/>
                    <a:pt x="913607" y="28081"/>
                  </a:cubicBezTo>
                  <a:cubicBezTo>
                    <a:pt x="911822" y="30773"/>
                    <a:pt x="914424" y="33769"/>
                    <a:pt x="912124" y="36946"/>
                  </a:cubicBezTo>
                  <a:cubicBezTo>
                    <a:pt x="909280" y="40909"/>
                    <a:pt x="902321" y="40365"/>
                    <a:pt x="901020" y="40274"/>
                  </a:cubicBezTo>
                  <a:cubicBezTo>
                    <a:pt x="896663" y="39941"/>
                    <a:pt x="894213" y="38247"/>
                    <a:pt x="891580" y="37127"/>
                  </a:cubicBezTo>
                  <a:cubicBezTo>
                    <a:pt x="880204" y="32256"/>
                    <a:pt x="866922" y="38882"/>
                    <a:pt x="865318" y="39729"/>
                  </a:cubicBezTo>
                  <a:cubicBezTo>
                    <a:pt x="863685" y="40576"/>
                    <a:pt x="849676" y="47808"/>
                    <a:pt x="848678" y="59517"/>
                  </a:cubicBezTo>
                  <a:cubicBezTo>
                    <a:pt x="848012" y="67202"/>
                    <a:pt x="853488" y="70681"/>
                    <a:pt x="851068" y="75219"/>
                  </a:cubicBezTo>
                  <a:cubicBezTo>
                    <a:pt x="848405" y="80272"/>
                    <a:pt x="838360" y="82360"/>
                    <a:pt x="832581" y="78729"/>
                  </a:cubicBezTo>
                  <a:cubicBezTo>
                    <a:pt x="826863" y="75129"/>
                    <a:pt x="828709" y="68049"/>
                    <a:pt x="823716" y="65961"/>
                  </a:cubicBezTo>
                  <a:cubicBezTo>
                    <a:pt x="819299" y="64116"/>
                    <a:pt x="816304" y="68987"/>
                    <a:pt x="807076" y="71316"/>
                  </a:cubicBezTo>
                  <a:cubicBezTo>
                    <a:pt x="799239" y="73313"/>
                    <a:pt x="786350" y="73616"/>
                    <a:pt x="782296" y="66869"/>
                  </a:cubicBezTo>
                  <a:cubicBezTo>
                    <a:pt x="779997" y="63057"/>
                    <a:pt x="780481" y="56945"/>
                    <a:pt x="783597" y="53919"/>
                  </a:cubicBezTo>
                  <a:cubicBezTo>
                    <a:pt x="787863" y="49744"/>
                    <a:pt x="794459" y="53950"/>
                    <a:pt x="798574" y="50046"/>
                  </a:cubicBezTo>
                  <a:cubicBezTo>
                    <a:pt x="801962" y="46839"/>
                    <a:pt x="802114" y="39669"/>
                    <a:pt x="799512" y="34888"/>
                  </a:cubicBezTo>
                  <a:cubicBezTo>
                    <a:pt x="795155" y="26961"/>
                    <a:pt x="783113" y="25539"/>
                    <a:pt x="764566" y="23603"/>
                  </a:cubicBezTo>
                  <a:cubicBezTo>
                    <a:pt x="746655" y="21727"/>
                    <a:pt x="739151" y="23421"/>
                    <a:pt x="734976" y="17673"/>
                  </a:cubicBezTo>
                  <a:cubicBezTo>
                    <a:pt x="731285" y="12590"/>
                    <a:pt x="733977" y="6902"/>
                    <a:pt x="729046" y="2878"/>
                  </a:cubicBezTo>
                  <a:cubicBezTo>
                    <a:pt x="725627" y="94"/>
                    <a:pt x="719394" y="-1177"/>
                    <a:pt x="716490" y="1395"/>
                  </a:cubicBezTo>
                  <a:cubicBezTo>
                    <a:pt x="709985" y="7113"/>
                    <a:pt x="725808" y="26810"/>
                    <a:pt x="717972" y="36885"/>
                  </a:cubicBezTo>
                  <a:cubicBezTo>
                    <a:pt x="714402" y="41484"/>
                    <a:pt x="706747" y="43027"/>
                    <a:pt x="703933" y="40576"/>
                  </a:cubicBezTo>
                  <a:cubicBezTo>
                    <a:pt x="700091" y="37248"/>
                    <a:pt x="706354" y="27536"/>
                    <a:pt x="703207" y="25055"/>
                  </a:cubicBezTo>
                  <a:cubicBezTo>
                    <a:pt x="699788" y="22393"/>
                    <a:pt x="686809" y="29291"/>
                    <a:pt x="681030" y="40576"/>
                  </a:cubicBezTo>
                  <a:cubicBezTo>
                    <a:pt x="676098" y="50168"/>
                    <a:pt x="677913" y="59850"/>
                    <a:pt x="678821" y="63510"/>
                  </a:cubicBezTo>
                  <a:lnTo>
                    <a:pt x="647022" y="72436"/>
                  </a:lnTo>
                  <a:lnTo>
                    <a:pt x="647748" y="88714"/>
                  </a:lnTo>
                  <a:lnTo>
                    <a:pt x="604119" y="98335"/>
                  </a:lnTo>
                  <a:lnTo>
                    <a:pt x="562699" y="120513"/>
                  </a:lnTo>
                  <a:lnTo>
                    <a:pt x="521279" y="112374"/>
                  </a:lnTo>
                  <a:lnTo>
                    <a:pt x="495410" y="147138"/>
                  </a:lnTo>
                  <a:lnTo>
                    <a:pt x="502792" y="179663"/>
                  </a:lnTo>
                  <a:lnTo>
                    <a:pt x="465093" y="186319"/>
                  </a:lnTo>
                  <a:lnTo>
                    <a:pt x="409634" y="228466"/>
                  </a:lnTo>
                  <a:lnTo>
                    <a:pt x="380044" y="216635"/>
                  </a:lnTo>
                  <a:lnTo>
                    <a:pt x="381527" y="305376"/>
                  </a:lnTo>
                  <a:lnTo>
                    <a:pt x="390392" y="320897"/>
                  </a:lnTo>
                  <a:lnTo>
                    <a:pt x="382253" y="333453"/>
                  </a:lnTo>
                  <a:lnTo>
                    <a:pt x="400739" y="357870"/>
                  </a:lnTo>
                  <a:lnTo>
                    <a:pt x="329759" y="397808"/>
                  </a:lnTo>
                  <a:lnTo>
                    <a:pt x="317203" y="377113"/>
                  </a:lnTo>
                  <a:lnTo>
                    <a:pt x="297990" y="379321"/>
                  </a:lnTo>
                  <a:lnTo>
                    <a:pt x="297264" y="329036"/>
                  </a:lnTo>
                  <a:lnTo>
                    <a:pt x="232184" y="231431"/>
                  </a:lnTo>
                  <a:lnTo>
                    <a:pt x="180416" y="278751"/>
                  </a:lnTo>
                  <a:lnTo>
                    <a:pt x="192246" y="303893"/>
                  </a:lnTo>
                  <a:lnTo>
                    <a:pt x="153065" y="339384"/>
                  </a:lnTo>
                  <a:lnTo>
                    <a:pt x="115366" y="347522"/>
                  </a:lnTo>
                  <a:lnTo>
                    <a:pt x="80602" y="460649"/>
                  </a:lnTo>
                  <a:cubicBezTo>
                    <a:pt x="83839" y="461738"/>
                    <a:pt x="100359" y="467578"/>
                    <a:pt x="108709" y="485066"/>
                  </a:cubicBezTo>
                  <a:cubicBezTo>
                    <a:pt x="110313" y="488424"/>
                    <a:pt x="118664" y="506971"/>
                    <a:pt x="109436" y="522765"/>
                  </a:cubicBezTo>
                  <a:cubicBezTo>
                    <a:pt x="100540" y="538013"/>
                    <a:pt x="81267" y="540615"/>
                    <a:pt x="70980" y="541977"/>
                  </a:cubicBezTo>
                  <a:cubicBezTo>
                    <a:pt x="63084" y="543036"/>
                    <a:pt x="56367" y="542582"/>
                    <a:pt x="51768" y="541977"/>
                  </a:cubicBezTo>
                  <a:lnTo>
                    <a:pt x="0" y="649930"/>
                  </a:lnTo>
                  <a:lnTo>
                    <a:pt x="75428" y="700941"/>
                  </a:lnTo>
                  <a:lnTo>
                    <a:pt x="74066" y="705873"/>
                  </a:lnTo>
                  <a:lnTo>
                    <a:pt x="379590" y="810679"/>
                  </a:lnTo>
                  <a:lnTo>
                    <a:pt x="477680" y="810679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  <p:sp>
          <p:nvSpPr>
            <p:cNvPr id="61" name="Полилиния: фигура 8">
              <a:extLst>
                <a:ext uri="{FF2B5EF4-FFF2-40B4-BE49-F238E27FC236}">
                  <a16:creationId xmlns:a16="http://schemas.microsoft.com/office/drawing/2014/main" xmlns="" id="{D80189F3-26F4-4EEC-B06B-E509B5A9D793}"/>
                </a:ext>
              </a:extLst>
            </p:cNvPr>
            <p:cNvSpPr/>
            <p:nvPr/>
          </p:nvSpPr>
          <p:spPr>
            <a:xfrm>
              <a:off x="1711458" y="2286074"/>
              <a:ext cx="1373617" cy="732192"/>
            </a:xfrm>
            <a:custGeom>
              <a:avLst/>
              <a:gdLst>
                <a:gd name="connsiteX0" fmla="*/ 1034086 w 1373617"/>
                <a:gd name="connsiteY0" fmla="*/ 665690 h 732192"/>
                <a:gd name="connsiteX1" fmla="*/ 1232262 w 1373617"/>
                <a:gd name="connsiteY1" fmla="*/ 700212 h 732192"/>
                <a:gd name="connsiteX2" fmla="*/ 1283545 w 1373617"/>
                <a:gd name="connsiteY2" fmla="*/ 666688 h 732192"/>
                <a:gd name="connsiteX3" fmla="*/ 1306237 w 1373617"/>
                <a:gd name="connsiteY3" fmla="*/ 686415 h 732192"/>
                <a:gd name="connsiteX4" fmla="*/ 1316101 w 1373617"/>
                <a:gd name="connsiteY4" fmla="*/ 730770 h 732192"/>
                <a:gd name="connsiteX5" fmla="*/ 1375554 w 1373617"/>
                <a:gd name="connsiteY5" fmla="*/ 734099 h 732192"/>
                <a:gd name="connsiteX6" fmla="*/ 1346659 w 1373617"/>
                <a:gd name="connsiteY6" fmla="*/ 653860 h 732192"/>
                <a:gd name="connsiteX7" fmla="*/ 1233260 w 1373617"/>
                <a:gd name="connsiteY7" fmla="*/ 607508 h 732192"/>
                <a:gd name="connsiteX8" fmla="*/ 1162280 w 1373617"/>
                <a:gd name="connsiteY8" fmla="*/ 486242 h 732192"/>
                <a:gd name="connsiteX9" fmla="*/ 1184972 w 1373617"/>
                <a:gd name="connsiteY9" fmla="*/ 314691 h 732192"/>
                <a:gd name="connsiteX10" fmla="*/ 1169208 w 1373617"/>
                <a:gd name="connsiteY10" fmla="*/ 269338 h 732192"/>
                <a:gd name="connsiteX11" fmla="*/ 1169208 w 1373617"/>
                <a:gd name="connsiteY11" fmla="*/ 222986 h 732192"/>
                <a:gd name="connsiteX12" fmla="*/ 1162310 w 1373617"/>
                <a:gd name="connsiteY12" fmla="*/ 201292 h 732192"/>
                <a:gd name="connsiteX13" fmla="*/ 1179072 w 1373617"/>
                <a:gd name="connsiteY13" fmla="*/ 135244 h 732192"/>
                <a:gd name="connsiteX14" fmla="*/ 1133718 w 1373617"/>
                <a:gd name="connsiteY14" fmla="*/ 116515 h 732192"/>
                <a:gd name="connsiteX15" fmla="*/ 1108091 w 1373617"/>
                <a:gd name="connsiteY15" fmla="*/ 148072 h 732192"/>
                <a:gd name="connsiteX16" fmla="*/ 1042043 w 1373617"/>
                <a:gd name="connsiteY16" fmla="*/ 108619 h 732192"/>
                <a:gd name="connsiteX17" fmla="*/ 1041044 w 1373617"/>
                <a:gd name="connsiteY17" fmla="*/ 25808 h 732192"/>
                <a:gd name="connsiteX18" fmla="*/ 992393 w 1373617"/>
                <a:gd name="connsiteY18" fmla="*/ 0 h 732192"/>
                <a:gd name="connsiteX19" fmla="*/ 960171 w 1373617"/>
                <a:gd name="connsiteY19" fmla="*/ 44537 h 732192"/>
                <a:gd name="connsiteX20" fmla="*/ 867497 w 1373617"/>
                <a:gd name="connsiteY20" fmla="*/ 39605 h 732192"/>
                <a:gd name="connsiteX21" fmla="*/ 823142 w 1373617"/>
                <a:gd name="connsiteY21" fmla="*/ 110585 h 732192"/>
                <a:gd name="connsiteX22" fmla="*/ 810313 w 1373617"/>
                <a:gd name="connsiteY22" fmla="*/ 159872 h 732192"/>
                <a:gd name="connsiteX23" fmla="*/ 701846 w 1373617"/>
                <a:gd name="connsiteY23" fmla="*/ 126349 h 732192"/>
                <a:gd name="connsiteX24" fmla="*/ 698881 w 1373617"/>
                <a:gd name="connsiteY24" fmla="*/ 101690 h 732192"/>
                <a:gd name="connsiteX25" fmla="*/ 646629 w 1373617"/>
                <a:gd name="connsiteY25" fmla="*/ 87893 h 732192"/>
                <a:gd name="connsiteX26" fmla="*/ 484941 w 1373617"/>
                <a:gd name="connsiteY26" fmla="*/ 154940 h 732192"/>
                <a:gd name="connsiteX27" fmla="*/ 420799 w 1373617"/>
                <a:gd name="connsiteY27" fmla="*/ 216087 h 732192"/>
                <a:gd name="connsiteX28" fmla="*/ 322679 w 1373617"/>
                <a:gd name="connsiteY28" fmla="*/ 216087 h 732192"/>
                <a:gd name="connsiteX29" fmla="*/ 17125 w 1373617"/>
                <a:gd name="connsiteY29" fmla="*/ 111342 h 732192"/>
                <a:gd name="connsiteX30" fmla="*/ 7413 w 1373617"/>
                <a:gd name="connsiteY30" fmla="*/ 146317 h 732192"/>
                <a:gd name="connsiteX31" fmla="*/ 19969 w 1373617"/>
                <a:gd name="connsiteY31" fmla="*/ 161113 h 732192"/>
                <a:gd name="connsiteX32" fmla="*/ 0 w 1373617"/>
                <a:gd name="connsiteY32" fmla="*/ 165560 h 732192"/>
                <a:gd name="connsiteX33" fmla="*/ 11104 w 1373617"/>
                <a:gd name="connsiteY33" fmla="*/ 199568 h 732192"/>
                <a:gd name="connsiteX34" fmla="*/ 2965 w 1373617"/>
                <a:gd name="connsiteY34" fmla="*/ 213606 h 732192"/>
                <a:gd name="connsiteX35" fmla="*/ 39212 w 1373617"/>
                <a:gd name="connsiteY35" fmla="*/ 249853 h 732192"/>
                <a:gd name="connsiteX36" fmla="*/ 45868 w 1373617"/>
                <a:gd name="connsiteY36" fmla="*/ 219537 h 732192"/>
                <a:gd name="connsiteX37" fmla="*/ 77667 w 1373617"/>
                <a:gd name="connsiteY37" fmla="*/ 240988 h 732192"/>
                <a:gd name="connsiteX38" fmla="*/ 100601 w 1373617"/>
                <a:gd name="connsiteY38" fmla="*/ 243953 h 732192"/>
                <a:gd name="connsiteX39" fmla="*/ 124261 w 1373617"/>
                <a:gd name="connsiteY39" fmla="*/ 244679 h 732192"/>
                <a:gd name="connsiteX40" fmla="*/ 156060 w 1373617"/>
                <a:gd name="connsiteY40" fmla="*/ 272787 h 732192"/>
                <a:gd name="connsiteX41" fmla="*/ 179720 w 1373617"/>
                <a:gd name="connsiteY41" fmla="*/ 326037 h 732192"/>
                <a:gd name="connsiteX42" fmla="*/ 191550 w 1373617"/>
                <a:gd name="connsiteY42" fmla="*/ 335659 h 732192"/>
                <a:gd name="connsiteX43" fmla="*/ 206345 w 1373617"/>
                <a:gd name="connsiteY43" fmla="*/ 407395 h 732192"/>
                <a:gd name="connsiteX44" fmla="*/ 242834 w 1373617"/>
                <a:gd name="connsiteY44" fmla="*/ 494653 h 732192"/>
                <a:gd name="connsiteX45" fmla="*/ 226556 w 1373617"/>
                <a:gd name="connsiteY45" fmla="*/ 507482 h 732192"/>
                <a:gd name="connsiteX46" fmla="*/ 201171 w 1373617"/>
                <a:gd name="connsiteY46" fmla="*/ 503307 h 732192"/>
                <a:gd name="connsiteX47" fmla="*/ 185650 w 1373617"/>
                <a:gd name="connsiteY47" fmla="*/ 484820 h 732192"/>
                <a:gd name="connsiteX48" fmla="*/ 164199 w 1373617"/>
                <a:gd name="connsiteY48" fmla="*/ 499615 h 732192"/>
                <a:gd name="connsiteX49" fmla="*/ 173306 w 1373617"/>
                <a:gd name="connsiteY49" fmla="*/ 512928 h 732192"/>
                <a:gd name="connsiteX50" fmla="*/ 172822 w 1373617"/>
                <a:gd name="connsiteY50" fmla="*/ 528691 h 732192"/>
                <a:gd name="connsiteX51" fmla="*/ 200173 w 1373617"/>
                <a:gd name="connsiteY51" fmla="*/ 537314 h 732192"/>
                <a:gd name="connsiteX52" fmla="*/ 207828 w 1373617"/>
                <a:gd name="connsiteY52" fmla="*/ 550385 h 732192"/>
                <a:gd name="connsiteX53" fmla="*/ 270185 w 1373617"/>
                <a:gd name="connsiteY53" fmla="*/ 598461 h 732192"/>
                <a:gd name="connsiteX54" fmla="*/ 301742 w 1373617"/>
                <a:gd name="connsiteY54" fmla="*/ 633225 h 732192"/>
                <a:gd name="connsiteX55" fmla="*/ 315054 w 1373617"/>
                <a:gd name="connsiteY55" fmla="*/ 630502 h 732192"/>
                <a:gd name="connsiteX56" fmla="*/ 299019 w 1373617"/>
                <a:gd name="connsiteY56" fmla="*/ 605360 h 732192"/>
                <a:gd name="connsiteX57" fmla="*/ 307884 w 1373617"/>
                <a:gd name="connsiteY57" fmla="*/ 604119 h 732192"/>
                <a:gd name="connsiteX58" fmla="*/ 329819 w 1373617"/>
                <a:gd name="connsiteY58" fmla="*/ 625329 h 732192"/>
                <a:gd name="connsiteX59" fmla="*/ 329335 w 1373617"/>
                <a:gd name="connsiteY59" fmla="*/ 617432 h 732192"/>
                <a:gd name="connsiteX60" fmla="*/ 333026 w 1373617"/>
                <a:gd name="connsiteY60" fmla="*/ 611018 h 732192"/>
                <a:gd name="connsiteX61" fmla="*/ 355204 w 1373617"/>
                <a:gd name="connsiteY61" fmla="*/ 637159 h 732192"/>
                <a:gd name="connsiteX62" fmla="*/ 352753 w 1373617"/>
                <a:gd name="connsiteY62" fmla="*/ 602152 h 732192"/>
                <a:gd name="connsiteX63" fmla="*/ 360650 w 1373617"/>
                <a:gd name="connsiteY63" fmla="*/ 598219 h 732192"/>
                <a:gd name="connsiteX64" fmla="*/ 379863 w 1373617"/>
                <a:gd name="connsiteY64" fmla="*/ 550385 h 732192"/>
                <a:gd name="connsiteX65" fmla="*/ 396140 w 1373617"/>
                <a:gd name="connsiteY65" fmla="*/ 547934 h 732192"/>
                <a:gd name="connsiteX66" fmla="*/ 423250 w 1373617"/>
                <a:gd name="connsiteY66" fmla="*/ 521793 h 732192"/>
                <a:gd name="connsiteX67" fmla="*/ 431146 w 1373617"/>
                <a:gd name="connsiteY67" fmla="*/ 525242 h 732192"/>
                <a:gd name="connsiteX68" fmla="*/ 445941 w 1373617"/>
                <a:gd name="connsiteY68" fmla="*/ 506998 h 732192"/>
                <a:gd name="connsiteX69" fmla="*/ 490297 w 1373617"/>
                <a:gd name="connsiteY69" fmla="*/ 495168 h 732192"/>
                <a:gd name="connsiteX70" fmla="*/ 497195 w 1373617"/>
                <a:gd name="connsiteY70" fmla="*/ 481371 h 732192"/>
                <a:gd name="connsiteX71" fmla="*/ 583969 w 1373617"/>
                <a:gd name="connsiteY71" fmla="*/ 457227 h 732192"/>
                <a:gd name="connsiteX72" fmla="*/ 640668 w 1373617"/>
                <a:gd name="connsiteY72" fmla="*/ 471024 h 732192"/>
                <a:gd name="connsiteX73" fmla="*/ 641152 w 1373617"/>
                <a:gd name="connsiteY73" fmla="*/ 490750 h 732192"/>
                <a:gd name="connsiteX74" fmla="*/ 629322 w 1373617"/>
                <a:gd name="connsiteY74" fmla="*/ 490750 h 732192"/>
                <a:gd name="connsiteX75" fmla="*/ 664813 w 1373617"/>
                <a:gd name="connsiteY75" fmla="*/ 535620 h 732192"/>
                <a:gd name="connsiteX76" fmla="*/ 676158 w 1373617"/>
                <a:gd name="connsiteY76" fmla="*/ 522307 h 732192"/>
                <a:gd name="connsiteX77" fmla="*/ 699819 w 1373617"/>
                <a:gd name="connsiteY77" fmla="*/ 532655 h 732192"/>
                <a:gd name="connsiteX78" fmla="*/ 707715 w 1373617"/>
                <a:gd name="connsiteY78" fmla="*/ 523276 h 732192"/>
                <a:gd name="connsiteX79" fmla="*/ 739756 w 1373617"/>
                <a:gd name="connsiteY79" fmla="*/ 550869 h 732192"/>
                <a:gd name="connsiteX80" fmla="*/ 766382 w 1373617"/>
                <a:gd name="connsiteY80" fmla="*/ 518344 h 732192"/>
                <a:gd name="connsiteX81" fmla="*/ 768832 w 1373617"/>
                <a:gd name="connsiteY81" fmla="*/ 495652 h 732192"/>
                <a:gd name="connsiteX82" fmla="*/ 827983 w 1373617"/>
                <a:gd name="connsiteY82" fmla="*/ 516347 h 732192"/>
                <a:gd name="connsiteX83" fmla="*/ 842778 w 1373617"/>
                <a:gd name="connsiteY83" fmla="*/ 507482 h 732192"/>
                <a:gd name="connsiteX84" fmla="*/ 873336 w 1373617"/>
                <a:gd name="connsiteY84" fmla="*/ 537556 h 732192"/>
                <a:gd name="connsiteX85" fmla="*/ 887133 w 1373617"/>
                <a:gd name="connsiteY85" fmla="*/ 664268 h 732192"/>
                <a:gd name="connsiteX86" fmla="*/ 901444 w 1373617"/>
                <a:gd name="connsiteY86" fmla="*/ 667717 h 732192"/>
                <a:gd name="connsiteX87" fmla="*/ 897783 w 1373617"/>
                <a:gd name="connsiteY87" fmla="*/ 676401 h 732192"/>
                <a:gd name="connsiteX88" fmla="*/ 985737 w 1373617"/>
                <a:gd name="connsiteY88" fmla="*/ 691377 h 732192"/>
                <a:gd name="connsiteX89" fmla="*/ 1034086 w 1373617"/>
                <a:gd name="connsiteY89" fmla="*/ 665690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373617" h="732192">
                  <a:moveTo>
                    <a:pt x="1034086" y="665690"/>
                  </a:moveTo>
                  <a:lnTo>
                    <a:pt x="1232262" y="700212"/>
                  </a:lnTo>
                  <a:lnTo>
                    <a:pt x="1283545" y="666688"/>
                  </a:lnTo>
                  <a:lnTo>
                    <a:pt x="1306237" y="686415"/>
                  </a:lnTo>
                  <a:lnTo>
                    <a:pt x="1316101" y="730770"/>
                  </a:lnTo>
                  <a:lnTo>
                    <a:pt x="1375554" y="734099"/>
                  </a:lnTo>
                  <a:lnTo>
                    <a:pt x="1346659" y="653860"/>
                  </a:lnTo>
                  <a:lnTo>
                    <a:pt x="1233260" y="607508"/>
                  </a:lnTo>
                  <a:lnTo>
                    <a:pt x="1162280" y="486242"/>
                  </a:lnTo>
                  <a:lnTo>
                    <a:pt x="1184972" y="314691"/>
                  </a:lnTo>
                  <a:lnTo>
                    <a:pt x="1169208" y="269338"/>
                  </a:lnTo>
                  <a:lnTo>
                    <a:pt x="1169208" y="222986"/>
                  </a:lnTo>
                  <a:lnTo>
                    <a:pt x="1162310" y="201292"/>
                  </a:lnTo>
                  <a:lnTo>
                    <a:pt x="1179072" y="135244"/>
                  </a:lnTo>
                  <a:lnTo>
                    <a:pt x="1133718" y="116515"/>
                  </a:lnTo>
                  <a:lnTo>
                    <a:pt x="1108091" y="148072"/>
                  </a:lnTo>
                  <a:lnTo>
                    <a:pt x="1042043" y="108619"/>
                  </a:lnTo>
                  <a:lnTo>
                    <a:pt x="1041044" y="25808"/>
                  </a:lnTo>
                  <a:lnTo>
                    <a:pt x="992393" y="0"/>
                  </a:lnTo>
                  <a:lnTo>
                    <a:pt x="960171" y="44537"/>
                  </a:lnTo>
                  <a:lnTo>
                    <a:pt x="867497" y="39605"/>
                  </a:lnTo>
                  <a:lnTo>
                    <a:pt x="823142" y="110585"/>
                  </a:lnTo>
                  <a:lnTo>
                    <a:pt x="810313" y="159872"/>
                  </a:lnTo>
                  <a:lnTo>
                    <a:pt x="701846" y="126349"/>
                  </a:lnTo>
                  <a:lnTo>
                    <a:pt x="698881" y="101690"/>
                  </a:lnTo>
                  <a:lnTo>
                    <a:pt x="646629" y="87893"/>
                  </a:lnTo>
                  <a:lnTo>
                    <a:pt x="484941" y="154940"/>
                  </a:lnTo>
                  <a:lnTo>
                    <a:pt x="420799" y="216087"/>
                  </a:lnTo>
                  <a:lnTo>
                    <a:pt x="322679" y="216087"/>
                  </a:lnTo>
                  <a:lnTo>
                    <a:pt x="17125" y="111342"/>
                  </a:lnTo>
                  <a:lnTo>
                    <a:pt x="7413" y="146317"/>
                  </a:lnTo>
                  <a:lnTo>
                    <a:pt x="19969" y="161113"/>
                  </a:lnTo>
                  <a:lnTo>
                    <a:pt x="0" y="165560"/>
                  </a:lnTo>
                  <a:lnTo>
                    <a:pt x="11104" y="199568"/>
                  </a:lnTo>
                  <a:lnTo>
                    <a:pt x="2965" y="213606"/>
                  </a:lnTo>
                  <a:lnTo>
                    <a:pt x="39212" y="249853"/>
                  </a:lnTo>
                  <a:lnTo>
                    <a:pt x="45868" y="219537"/>
                  </a:lnTo>
                  <a:lnTo>
                    <a:pt x="77667" y="240988"/>
                  </a:lnTo>
                  <a:lnTo>
                    <a:pt x="100601" y="243953"/>
                  </a:lnTo>
                  <a:cubicBezTo>
                    <a:pt x="106077" y="242803"/>
                    <a:pt x="114730" y="241835"/>
                    <a:pt x="124261" y="244679"/>
                  </a:cubicBezTo>
                  <a:cubicBezTo>
                    <a:pt x="139298" y="249187"/>
                    <a:pt x="147497" y="260533"/>
                    <a:pt x="156060" y="272787"/>
                  </a:cubicBezTo>
                  <a:cubicBezTo>
                    <a:pt x="163352" y="283195"/>
                    <a:pt x="173699" y="300834"/>
                    <a:pt x="179720" y="326037"/>
                  </a:cubicBezTo>
                  <a:lnTo>
                    <a:pt x="191550" y="335659"/>
                  </a:lnTo>
                  <a:lnTo>
                    <a:pt x="206345" y="407395"/>
                  </a:lnTo>
                  <a:lnTo>
                    <a:pt x="242834" y="494653"/>
                  </a:lnTo>
                  <a:cubicBezTo>
                    <a:pt x="241351" y="497013"/>
                    <a:pt x="236298" y="504487"/>
                    <a:pt x="226556" y="507482"/>
                  </a:cubicBezTo>
                  <a:cubicBezTo>
                    <a:pt x="217389" y="510296"/>
                    <a:pt x="207737" y="507966"/>
                    <a:pt x="201171" y="503307"/>
                  </a:cubicBezTo>
                  <a:cubicBezTo>
                    <a:pt x="191187" y="496196"/>
                    <a:pt x="193033" y="486999"/>
                    <a:pt x="185650" y="484820"/>
                  </a:cubicBezTo>
                  <a:cubicBezTo>
                    <a:pt x="176815" y="482218"/>
                    <a:pt x="163805" y="492233"/>
                    <a:pt x="164199" y="499615"/>
                  </a:cubicBezTo>
                  <a:cubicBezTo>
                    <a:pt x="164471" y="504729"/>
                    <a:pt x="171036" y="505243"/>
                    <a:pt x="173306" y="512928"/>
                  </a:cubicBezTo>
                  <a:cubicBezTo>
                    <a:pt x="175605" y="520643"/>
                    <a:pt x="170220" y="524274"/>
                    <a:pt x="172822" y="528691"/>
                  </a:cubicBezTo>
                  <a:cubicBezTo>
                    <a:pt x="176725" y="535378"/>
                    <a:pt x="190310" y="529478"/>
                    <a:pt x="200173" y="537314"/>
                  </a:cubicBezTo>
                  <a:cubicBezTo>
                    <a:pt x="205014" y="541157"/>
                    <a:pt x="206950" y="546754"/>
                    <a:pt x="207828" y="550385"/>
                  </a:cubicBezTo>
                  <a:lnTo>
                    <a:pt x="270185" y="598461"/>
                  </a:lnTo>
                  <a:cubicBezTo>
                    <a:pt x="271637" y="602637"/>
                    <a:pt x="281561" y="630079"/>
                    <a:pt x="301742" y="633225"/>
                  </a:cubicBezTo>
                  <a:cubicBezTo>
                    <a:pt x="306099" y="633891"/>
                    <a:pt x="313572" y="633861"/>
                    <a:pt x="315054" y="630502"/>
                  </a:cubicBezTo>
                  <a:cubicBezTo>
                    <a:pt x="317929" y="624058"/>
                    <a:pt x="296235" y="610533"/>
                    <a:pt x="299019" y="605360"/>
                  </a:cubicBezTo>
                  <a:cubicBezTo>
                    <a:pt x="300169" y="603212"/>
                    <a:pt x="305010" y="603484"/>
                    <a:pt x="307884" y="604119"/>
                  </a:cubicBezTo>
                  <a:cubicBezTo>
                    <a:pt x="321378" y="607084"/>
                    <a:pt x="328428" y="626055"/>
                    <a:pt x="329819" y="625329"/>
                  </a:cubicBezTo>
                  <a:cubicBezTo>
                    <a:pt x="330425" y="624996"/>
                    <a:pt x="328458" y="621819"/>
                    <a:pt x="329335" y="617432"/>
                  </a:cubicBezTo>
                  <a:cubicBezTo>
                    <a:pt x="329819" y="614951"/>
                    <a:pt x="331302" y="611683"/>
                    <a:pt x="333026" y="611018"/>
                  </a:cubicBezTo>
                  <a:cubicBezTo>
                    <a:pt x="335629" y="610049"/>
                    <a:pt x="341377" y="614134"/>
                    <a:pt x="355204" y="637159"/>
                  </a:cubicBezTo>
                  <a:lnTo>
                    <a:pt x="352753" y="602152"/>
                  </a:lnTo>
                  <a:lnTo>
                    <a:pt x="360650" y="598219"/>
                  </a:lnTo>
                  <a:lnTo>
                    <a:pt x="379863" y="550385"/>
                  </a:lnTo>
                  <a:lnTo>
                    <a:pt x="396140" y="547934"/>
                  </a:lnTo>
                  <a:lnTo>
                    <a:pt x="423250" y="521793"/>
                  </a:lnTo>
                  <a:lnTo>
                    <a:pt x="431146" y="525242"/>
                  </a:lnTo>
                  <a:lnTo>
                    <a:pt x="445941" y="506998"/>
                  </a:lnTo>
                  <a:lnTo>
                    <a:pt x="490297" y="495168"/>
                  </a:lnTo>
                  <a:lnTo>
                    <a:pt x="497195" y="481371"/>
                  </a:lnTo>
                  <a:lnTo>
                    <a:pt x="583969" y="457227"/>
                  </a:lnTo>
                  <a:lnTo>
                    <a:pt x="640668" y="471024"/>
                  </a:lnTo>
                  <a:lnTo>
                    <a:pt x="641152" y="490750"/>
                  </a:lnTo>
                  <a:lnTo>
                    <a:pt x="629322" y="490750"/>
                  </a:lnTo>
                  <a:lnTo>
                    <a:pt x="664813" y="535620"/>
                  </a:lnTo>
                  <a:lnTo>
                    <a:pt x="676158" y="522307"/>
                  </a:lnTo>
                  <a:lnTo>
                    <a:pt x="699819" y="532655"/>
                  </a:lnTo>
                  <a:lnTo>
                    <a:pt x="707715" y="523276"/>
                  </a:lnTo>
                  <a:lnTo>
                    <a:pt x="739756" y="550869"/>
                  </a:lnTo>
                  <a:lnTo>
                    <a:pt x="766382" y="518344"/>
                  </a:lnTo>
                  <a:lnTo>
                    <a:pt x="768832" y="495652"/>
                  </a:lnTo>
                  <a:lnTo>
                    <a:pt x="827983" y="516347"/>
                  </a:lnTo>
                  <a:lnTo>
                    <a:pt x="842778" y="507482"/>
                  </a:lnTo>
                  <a:lnTo>
                    <a:pt x="873336" y="537556"/>
                  </a:lnTo>
                  <a:lnTo>
                    <a:pt x="887133" y="664268"/>
                  </a:lnTo>
                  <a:lnTo>
                    <a:pt x="901444" y="667717"/>
                  </a:lnTo>
                  <a:lnTo>
                    <a:pt x="897783" y="676401"/>
                  </a:lnTo>
                  <a:lnTo>
                    <a:pt x="985737" y="691377"/>
                  </a:lnTo>
                  <a:lnTo>
                    <a:pt x="1034086" y="6656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Полилиния: фигура 9">
              <a:extLst>
                <a:ext uri="{FF2B5EF4-FFF2-40B4-BE49-F238E27FC236}">
                  <a16:creationId xmlns:a16="http://schemas.microsoft.com/office/drawing/2014/main" xmlns="" id="{1AF6985B-48C6-4FF7-8BF2-83D0C3C76B30}"/>
                </a:ext>
              </a:extLst>
            </p:cNvPr>
            <p:cNvSpPr/>
            <p:nvPr/>
          </p:nvSpPr>
          <p:spPr>
            <a:xfrm>
              <a:off x="2073734" y="2951764"/>
              <a:ext cx="1049879" cy="1183005"/>
            </a:xfrm>
            <a:custGeom>
              <a:avLst/>
              <a:gdLst>
                <a:gd name="connsiteX0" fmla="*/ 1013247 w 1049879"/>
                <a:gd name="connsiteY0" fmla="*/ 68409 h 1183005"/>
                <a:gd name="connsiteX1" fmla="*/ 953794 w 1049879"/>
                <a:gd name="connsiteY1" fmla="*/ 65080 h 1183005"/>
                <a:gd name="connsiteX2" fmla="*/ 943931 w 1049879"/>
                <a:gd name="connsiteY2" fmla="*/ 20725 h 1183005"/>
                <a:gd name="connsiteX3" fmla="*/ 921239 w 1049879"/>
                <a:gd name="connsiteY3" fmla="*/ 998 h 1183005"/>
                <a:gd name="connsiteX4" fmla="*/ 869955 w 1049879"/>
                <a:gd name="connsiteY4" fmla="*/ 34522 h 1183005"/>
                <a:gd name="connsiteX5" fmla="*/ 671779 w 1049879"/>
                <a:gd name="connsiteY5" fmla="*/ 0 h 1183005"/>
                <a:gd name="connsiteX6" fmla="*/ 623460 w 1049879"/>
                <a:gd name="connsiteY6" fmla="*/ 25627 h 1183005"/>
                <a:gd name="connsiteX7" fmla="*/ 535506 w 1049879"/>
                <a:gd name="connsiteY7" fmla="*/ 10650 h 1183005"/>
                <a:gd name="connsiteX8" fmla="*/ 506612 w 1049879"/>
                <a:gd name="connsiteY8" fmla="*/ 79361 h 1183005"/>
                <a:gd name="connsiteX9" fmla="*/ 511544 w 1049879"/>
                <a:gd name="connsiteY9" fmla="*/ 99572 h 1183005"/>
                <a:gd name="connsiteX10" fmla="*/ 485917 w 1049879"/>
                <a:gd name="connsiteY10" fmla="*/ 111886 h 1183005"/>
                <a:gd name="connsiteX11" fmla="*/ 560861 w 1049879"/>
                <a:gd name="connsiteY11" fmla="*/ 192730 h 1183005"/>
                <a:gd name="connsiteX12" fmla="*/ 590451 w 1049879"/>
                <a:gd name="connsiteY12" fmla="*/ 192730 h 1183005"/>
                <a:gd name="connsiteX13" fmla="*/ 562858 w 1049879"/>
                <a:gd name="connsiteY13" fmla="*/ 153276 h 1183005"/>
                <a:gd name="connsiteX14" fmla="*/ 590965 w 1049879"/>
                <a:gd name="connsiteY14" fmla="*/ 164108 h 1183005"/>
                <a:gd name="connsiteX15" fmla="*/ 648633 w 1049879"/>
                <a:gd name="connsiteY15" fmla="*/ 128618 h 1183005"/>
                <a:gd name="connsiteX16" fmla="*/ 701369 w 1049879"/>
                <a:gd name="connsiteY16" fmla="*/ 180870 h 1183005"/>
                <a:gd name="connsiteX17" fmla="*/ 720582 w 1049879"/>
                <a:gd name="connsiteY17" fmla="*/ 226223 h 1183005"/>
                <a:gd name="connsiteX18" fmla="*/ 730929 w 1049879"/>
                <a:gd name="connsiteY18" fmla="*/ 231155 h 1183005"/>
                <a:gd name="connsiteX19" fmla="*/ 771835 w 1049879"/>
                <a:gd name="connsiteY19" fmla="*/ 272061 h 1183005"/>
                <a:gd name="connsiteX20" fmla="*/ 703305 w 1049879"/>
                <a:gd name="connsiteY20" fmla="*/ 326279 h 1183005"/>
                <a:gd name="connsiteX21" fmla="*/ 671265 w 1049879"/>
                <a:gd name="connsiteY21" fmla="*/ 325796 h 1183005"/>
                <a:gd name="connsiteX22" fmla="*/ 651538 w 1049879"/>
                <a:gd name="connsiteY22" fmla="*/ 307067 h 1183005"/>
                <a:gd name="connsiteX23" fmla="*/ 626879 w 1049879"/>
                <a:gd name="connsiteY23" fmla="*/ 328761 h 1183005"/>
                <a:gd name="connsiteX24" fmla="*/ 601736 w 1049879"/>
                <a:gd name="connsiteY24" fmla="*/ 333692 h 1183005"/>
                <a:gd name="connsiteX25" fmla="*/ 563765 w 1049879"/>
                <a:gd name="connsiteY25" fmla="*/ 328276 h 1183005"/>
                <a:gd name="connsiteX26" fmla="*/ 535173 w 1049879"/>
                <a:gd name="connsiteY26" fmla="*/ 362284 h 1183005"/>
                <a:gd name="connsiteX27" fmla="*/ 539107 w 1049879"/>
                <a:gd name="connsiteY27" fmla="*/ 380044 h 1183005"/>
                <a:gd name="connsiteX28" fmla="*/ 494752 w 1049879"/>
                <a:gd name="connsiteY28" fmla="*/ 445125 h 1183005"/>
                <a:gd name="connsiteX29" fmla="*/ 467642 w 1049879"/>
                <a:gd name="connsiteY29" fmla="*/ 445609 h 1183005"/>
                <a:gd name="connsiteX30" fmla="*/ 475539 w 1049879"/>
                <a:gd name="connsiteY30" fmla="*/ 456440 h 1183005"/>
                <a:gd name="connsiteX31" fmla="*/ 464708 w 1049879"/>
                <a:gd name="connsiteY31" fmla="*/ 478618 h 1183005"/>
                <a:gd name="connsiteX32" fmla="*/ 437114 w 1049879"/>
                <a:gd name="connsiteY32" fmla="*/ 488965 h 1183005"/>
                <a:gd name="connsiteX33" fmla="*/ 418870 w 1049879"/>
                <a:gd name="connsiteY33" fmla="*/ 465305 h 1183005"/>
                <a:gd name="connsiteX34" fmla="*/ 437598 w 1049879"/>
                <a:gd name="connsiteY34" fmla="*/ 432266 h 1183005"/>
                <a:gd name="connsiteX35" fmla="*/ 452999 w 1049879"/>
                <a:gd name="connsiteY35" fmla="*/ 448543 h 1183005"/>
                <a:gd name="connsiteX36" fmla="*/ 534205 w 1049879"/>
                <a:gd name="connsiteY36" fmla="*/ 308035 h 1183005"/>
                <a:gd name="connsiteX37" fmla="*/ 578076 w 1049879"/>
                <a:gd name="connsiteY37" fmla="*/ 276962 h 1183005"/>
                <a:gd name="connsiteX38" fmla="*/ 554900 w 1049879"/>
                <a:gd name="connsiteY38" fmla="*/ 251336 h 1183005"/>
                <a:gd name="connsiteX39" fmla="*/ 530756 w 1049879"/>
                <a:gd name="connsiteY39" fmla="*/ 267099 h 1183005"/>
                <a:gd name="connsiteX40" fmla="*/ 519410 w 1049879"/>
                <a:gd name="connsiteY40" fmla="*/ 259202 h 1183005"/>
                <a:gd name="connsiteX41" fmla="*/ 498715 w 1049879"/>
                <a:gd name="connsiteY41" fmla="*/ 268582 h 1183005"/>
                <a:gd name="connsiteX42" fmla="*/ 434633 w 1049879"/>
                <a:gd name="connsiteY42" fmla="*/ 251336 h 1183005"/>
                <a:gd name="connsiteX43" fmla="*/ 375967 w 1049879"/>
                <a:gd name="connsiteY43" fmla="*/ 220263 h 1183005"/>
                <a:gd name="connsiteX44" fmla="*/ 343442 w 1049879"/>
                <a:gd name="connsiteY44" fmla="*/ 216814 h 1183005"/>
                <a:gd name="connsiteX45" fmla="*/ 325682 w 1049879"/>
                <a:gd name="connsiteY45" fmla="*/ 196603 h 1183005"/>
                <a:gd name="connsiteX46" fmla="*/ 270949 w 1049879"/>
                <a:gd name="connsiteY46" fmla="*/ 187738 h 1183005"/>
                <a:gd name="connsiteX47" fmla="*/ 237909 w 1049879"/>
                <a:gd name="connsiteY47" fmla="*/ 203501 h 1183005"/>
                <a:gd name="connsiteX48" fmla="*/ 202419 w 1049879"/>
                <a:gd name="connsiteY48" fmla="*/ 202503 h 1183005"/>
                <a:gd name="connsiteX49" fmla="*/ 182692 w 1049879"/>
                <a:gd name="connsiteY49" fmla="*/ 234059 h 1183005"/>
                <a:gd name="connsiteX50" fmla="*/ 178245 w 1049879"/>
                <a:gd name="connsiteY50" fmla="*/ 266585 h 1183005"/>
                <a:gd name="connsiteX51" fmla="*/ 163450 w 1049879"/>
                <a:gd name="connsiteY51" fmla="*/ 263620 h 1183005"/>
                <a:gd name="connsiteX52" fmla="*/ 139790 w 1049879"/>
                <a:gd name="connsiteY52" fmla="*/ 286796 h 1183005"/>
                <a:gd name="connsiteX53" fmla="*/ 161483 w 1049879"/>
                <a:gd name="connsiteY53" fmla="*/ 324252 h 1183005"/>
                <a:gd name="connsiteX54" fmla="*/ 169380 w 1049879"/>
                <a:gd name="connsiteY54" fmla="*/ 357776 h 1183005"/>
                <a:gd name="connsiteX55" fmla="*/ 215732 w 1049879"/>
                <a:gd name="connsiteY55" fmla="*/ 379469 h 1183005"/>
                <a:gd name="connsiteX56" fmla="*/ 206867 w 1049879"/>
                <a:gd name="connsiteY56" fmla="*/ 391783 h 1183005"/>
                <a:gd name="connsiteX57" fmla="*/ 171377 w 1049879"/>
                <a:gd name="connsiteY57" fmla="*/ 379469 h 1183005"/>
                <a:gd name="connsiteX58" fmla="*/ 141786 w 1049879"/>
                <a:gd name="connsiteY58" fmla="*/ 390301 h 1183005"/>
                <a:gd name="connsiteX59" fmla="*/ 102847 w 1049879"/>
                <a:gd name="connsiteY59" fmla="*/ 352330 h 1183005"/>
                <a:gd name="connsiteX60" fmla="*/ 81154 w 1049879"/>
                <a:gd name="connsiteY60" fmla="*/ 350847 h 1183005"/>
                <a:gd name="connsiteX61" fmla="*/ 48629 w 1049879"/>
                <a:gd name="connsiteY61" fmla="*/ 342467 h 1183005"/>
                <a:gd name="connsiteX62" fmla="*/ 9175 w 1049879"/>
                <a:gd name="connsiteY62" fmla="*/ 345916 h 1183005"/>
                <a:gd name="connsiteX63" fmla="*/ 6724 w 1049879"/>
                <a:gd name="connsiteY63" fmla="*/ 393750 h 1183005"/>
                <a:gd name="connsiteX64" fmla="*/ 48145 w 1049879"/>
                <a:gd name="connsiteY64" fmla="*/ 417410 h 1183005"/>
                <a:gd name="connsiteX65" fmla="*/ 92500 w 1049879"/>
                <a:gd name="connsiteY65" fmla="*/ 444035 h 1183005"/>
                <a:gd name="connsiteX66" fmla="*/ 92500 w 1049879"/>
                <a:gd name="connsiteY66" fmla="*/ 482975 h 1183005"/>
                <a:gd name="connsiteX67" fmla="*/ 109745 w 1049879"/>
                <a:gd name="connsiteY67" fmla="*/ 506635 h 1183005"/>
                <a:gd name="connsiteX68" fmla="*/ 109745 w 1049879"/>
                <a:gd name="connsiteY68" fmla="*/ 545090 h 1183005"/>
                <a:gd name="connsiteX69" fmla="*/ 148685 w 1049879"/>
                <a:gd name="connsiteY69" fmla="*/ 597826 h 1183005"/>
                <a:gd name="connsiteX70" fmla="*/ 132407 w 1049879"/>
                <a:gd name="connsiteY70" fmla="*/ 689017 h 1183005"/>
                <a:gd name="connsiteX71" fmla="*/ 195007 w 1049879"/>
                <a:gd name="connsiteY71" fmla="*/ 689017 h 1183005"/>
                <a:gd name="connsiteX72" fmla="*/ 195007 w 1049879"/>
                <a:gd name="connsiteY72" fmla="*/ 706263 h 1183005"/>
                <a:gd name="connsiteX73" fmla="*/ 230981 w 1049879"/>
                <a:gd name="connsiteY73" fmla="*/ 766896 h 1183005"/>
                <a:gd name="connsiteX74" fmla="*/ 277333 w 1049879"/>
                <a:gd name="connsiteY74" fmla="*/ 766896 h 1183005"/>
                <a:gd name="connsiteX75" fmla="*/ 292128 w 1049879"/>
                <a:gd name="connsiteY75" fmla="*/ 789588 h 1183005"/>
                <a:gd name="connsiteX76" fmla="*/ 304956 w 1049879"/>
                <a:gd name="connsiteY76" fmla="*/ 778756 h 1183005"/>
                <a:gd name="connsiteX77" fmla="*/ 345378 w 1049879"/>
                <a:gd name="connsiteY77" fmla="*/ 785655 h 1183005"/>
                <a:gd name="connsiteX78" fmla="*/ 345378 w 1049879"/>
                <a:gd name="connsiteY78" fmla="*/ 812280 h 1183005"/>
                <a:gd name="connsiteX79" fmla="*/ 362201 w 1049879"/>
                <a:gd name="connsiteY79" fmla="*/ 812280 h 1183005"/>
                <a:gd name="connsiteX80" fmla="*/ 366134 w 1049879"/>
                <a:gd name="connsiteY80" fmla="*/ 834972 h 1183005"/>
                <a:gd name="connsiteX81" fmla="*/ 351339 w 1049879"/>
                <a:gd name="connsiteY81" fmla="*/ 848768 h 1183005"/>
                <a:gd name="connsiteX82" fmla="*/ 327679 w 1049879"/>
                <a:gd name="connsiteY82" fmla="*/ 907919 h 1183005"/>
                <a:gd name="connsiteX83" fmla="*/ 297120 w 1049879"/>
                <a:gd name="connsiteY83" fmla="*/ 947372 h 1183005"/>
                <a:gd name="connsiteX84" fmla="*/ 305985 w 1049879"/>
                <a:gd name="connsiteY84" fmla="*/ 973998 h 1183005"/>
                <a:gd name="connsiteX85" fmla="*/ 294155 w 1049879"/>
                <a:gd name="connsiteY85" fmla="*/ 1024283 h 1183005"/>
                <a:gd name="connsiteX86" fmla="*/ 390792 w 1049879"/>
                <a:gd name="connsiteY86" fmla="*/ 953303 h 1183005"/>
                <a:gd name="connsiteX87" fmla="*/ 490364 w 1049879"/>
                <a:gd name="connsiteY87" fmla="*/ 926677 h 1183005"/>
                <a:gd name="connsiteX88" fmla="*/ 603764 w 1049879"/>
                <a:gd name="connsiteY88" fmla="*/ 914847 h 1183005"/>
                <a:gd name="connsiteX89" fmla="*/ 716164 w 1049879"/>
                <a:gd name="connsiteY89" fmla="*/ 1023314 h 1183005"/>
                <a:gd name="connsiteX90" fmla="*/ 714198 w 1049879"/>
                <a:gd name="connsiteY90" fmla="*/ 1044010 h 1183005"/>
                <a:gd name="connsiteX91" fmla="*/ 799973 w 1049879"/>
                <a:gd name="connsiteY91" fmla="*/ 1183035 h 1183005"/>
                <a:gd name="connsiteX92" fmla="*/ 817733 w 1049879"/>
                <a:gd name="connsiteY92" fmla="*/ 1176137 h 1183005"/>
                <a:gd name="connsiteX93" fmla="*/ 844358 w 1049879"/>
                <a:gd name="connsiteY93" fmla="*/ 1180070 h 1183005"/>
                <a:gd name="connsiteX94" fmla="*/ 864085 w 1049879"/>
                <a:gd name="connsiteY94" fmla="*/ 1170207 h 1183005"/>
                <a:gd name="connsiteX95" fmla="*/ 890710 w 1049879"/>
                <a:gd name="connsiteY95" fmla="*/ 1171205 h 1183005"/>
                <a:gd name="connsiteX96" fmla="*/ 936064 w 1049879"/>
                <a:gd name="connsiteY96" fmla="*/ 334116 h 1183005"/>
                <a:gd name="connsiteX97" fmla="*/ 1050129 w 1049879"/>
                <a:gd name="connsiteY97" fmla="*/ 302256 h 1183005"/>
                <a:gd name="connsiteX98" fmla="*/ 1028768 w 1049879"/>
                <a:gd name="connsiteY98" fmla="*/ 111281 h 1183005"/>
                <a:gd name="connsiteX99" fmla="*/ 1013247 w 1049879"/>
                <a:gd name="connsiteY99" fmla="*/ 68409 h 1183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</a:cxnLst>
              <a:rect l="l" t="t" r="r" b="b"/>
              <a:pathLst>
                <a:path w="1049879" h="1183005">
                  <a:moveTo>
                    <a:pt x="1013247" y="68409"/>
                  </a:moveTo>
                  <a:lnTo>
                    <a:pt x="953794" y="65080"/>
                  </a:lnTo>
                  <a:lnTo>
                    <a:pt x="943931" y="20725"/>
                  </a:lnTo>
                  <a:lnTo>
                    <a:pt x="921239" y="998"/>
                  </a:lnTo>
                  <a:lnTo>
                    <a:pt x="869955" y="34522"/>
                  </a:lnTo>
                  <a:lnTo>
                    <a:pt x="671779" y="0"/>
                  </a:lnTo>
                  <a:lnTo>
                    <a:pt x="623460" y="25627"/>
                  </a:lnTo>
                  <a:lnTo>
                    <a:pt x="535506" y="10650"/>
                  </a:lnTo>
                  <a:lnTo>
                    <a:pt x="506612" y="79361"/>
                  </a:lnTo>
                  <a:lnTo>
                    <a:pt x="511544" y="99572"/>
                  </a:lnTo>
                  <a:lnTo>
                    <a:pt x="485917" y="111886"/>
                  </a:lnTo>
                  <a:lnTo>
                    <a:pt x="560861" y="192730"/>
                  </a:lnTo>
                  <a:lnTo>
                    <a:pt x="590451" y="192730"/>
                  </a:lnTo>
                  <a:lnTo>
                    <a:pt x="562858" y="153276"/>
                  </a:lnTo>
                  <a:lnTo>
                    <a:pt x="590965" y="164108"/>
                  </a:lnTo>
                  <a:lnTo>
                    <a:pt x="648633" y="128618"/>
                  </a:lnTo>
                  <a:lnTo>
                    <a:pt x="701369" y="180870"/>
                  </a:lnTo>
                  <a:lnTo>
                    <a:pt x="720582" y="226223"/>
                  </a:lnTo>
                  <a:lnTo>
                    <a:pt x="730929" y="231155"/>
                  </a:lnTo>
                  <a:lnTo>
                    <a:pt x="771835" y="272061"/>
                  </a:lnTo>
                  <a:lnTo>
                    <a:pt x="703305" y="326279"/>
                  </a:lnTo>
                  <a:lnTo>
                    <a:pt x="671265" y="325796"/>
                  </a:lnTo>
                  <a:lnTo>
                    <a:pt x="651538" y="307067"/>
                  </a:lnTo>
                  <a:lnTo>
                    <a:pt x="626879" y="328761"/>
                  </a:lnTo>
                  <a:lnTo>
                    <a:pt x="601736" y="333692"/>
                  </a:lnTo>
                  <a:lnTo>
                    <a:pt x="563765" y="328276"/>
                  </a:lnTo>
                  <a:lnTo>
                    <a:pt x="535173" y="362284"/>
                  </a:lnTo>
                  <a:lnTo>
                    <a:pt x="539107" y="380044"/>
                  </a:lnTo>
                  <a:lnTo>
                    <a:pt x="494752" y="445125"/>
                  </a:lnTo>
                  <a:lnTo>
                    <a:pt x="467642" y="445609"/>
                  </a:lnTo>
                  <a:cubicBezTo>
                    <a:pt x="469851" y="447152"/>
                    <a:pt x="474268" y="450752"/>
                    <a:pt x="475539" y="456440"/>
                  </a:cubicBezTo>
                  <a:cubicBezTo>
                    <a:pt x="477778" y="466516"/>
                    <a:pt x="468490" y="475108"/>
                    <a:pt x="464708" y="478618"/>
                  </a:cubicBezTo>
                  <a:cubicBezTo>
                    <a:pt x="460411" y="482581"/>
                    <a:pt x="449791" y="492445"/>
                    <a:pt x="437114" y="488965"/>
                  </a:cubicBezTo>
                  <a:cubicBezTo>
                    <a:pt x="421835" y="484790"/>
                    <a:pt x="419112" y="467121"/>
                    <a:pt x="418870" y="465305"/>
                  </a:cubicBezTo>
                  <a:cubicBezTo>
                    <a:pt x="417085" y="452205"/>
                    <a:pt x="424134" y="436925"/>
                    <a:pt x="437598" y="432266"/>
                  </a:cubicBezTo>
                  <a:cubicBezTo>
                    <a:pt x="448551" y="428484"/>
                    <a:pt x="450790" y="447363"/>
                    <a:pt x="452999" y="448543"/>
                  </a:cubicBezTo>
                  <a:lnTo>
                    <a:pt x="534205" y="308035"/>
                  </a:lnTo>
                  <a:lnTo>
                    <a:pt x="578076" y="276962"/>
                  </a:lnTo>
                  <a:cubicBezTo>
                    <a:pt x="567608" y="255027"/>
                    <a:pt x="559953" y="251003"/>
                    <a:pt x="554900" y="251336"/>
                  </a:cubicBezTo>
                  <a:cubicBezTo>
                    <a:pt x="545309" y="251941"/>
                    <a:pt x="539954" y="268642"/>
                    <a:pt x="530756" y="267099"/>
                  </a:cubicBezTo>
                  <a:cubicBezTo>
                    <a:pt x="525643" y="266252"/>
                    <a:pt x="525280" y="260745"/>
                    <a:pt x="519410" y="259202"/>
                  </a:cubicBezTo>
                  <a:cubicBezTo>
                    <a:pt x="511695" y="257175"/>
                    <a:pt x="505371" y="264921"/>
                    <a:pt x="498715" y="268582"/>
                  </a:cubicBezTo>
                  <a:cubicBezTo>
                    <a:pt x="483587" y="276841"/>
                    <a:pt x="462892" y="266040"/>
                    <a:pt x="434633" y="251336"/>
                  </a:cubicBezTo>
                  <a:cubicBezTo>
                    <a:pt x="397479" y="231972"/>
                    <a:pt x="396087" y="221292"/>
                    <a:pt x="375967" y="220263"/>
                  </a:cubicBezTo>
                  <a:cubicBezTo>
                    <a:pt x="363562" y="219658"/>
                    <a:pt x="354485" y="223228"/>
                    <a:pt x="343442" y="216814"/>
                  </a:cubicBezTo>
                  <a:cubicBezTo>
                    <a:pt x="333427" y="210974"/>
                    <a:pt x="335031" y="204651"/>
                    <a:pt x="325682" y="196603"/>
                  </a:cubicBezTo>
                  <a:cubicBezTo>
                    <a:pt x="310826" y="183804"/>
                    <a:pt x="287227" y="183078"/>
                    <a:pt x="270949" y="187738"/>
                  </a:cubicBezTo>
                  <a:cubicBezTo>
                    <a:pt x="253673" y="192700"/>
                    <a:pt x="254399" y="201777"/>
                    <a:pt x="237909" y="203501"/>
                  </a:cubicBezTo>
                  <a:cubicBezTo>
                    <a:pt x="221148" y="205256"/>
                    <a:pt x="213674" y="197269"/>
                    <a:pt x="202419" y="202503"/>
                  </a:cubicBezTo>
                  <a:cubicBezTo>
                    <a:pt x="188229" y="209098"/>
                    <a:pt x="183721" y="229400"/>
                    <a:pt x="182692" y="234059"/>
                  </a:cubicBezTo>
                  <a:cubicBezTo>
                    <a:pt x="178910" y="251094"/>
                    <a:pt x="184084" y="263559"/>
                    <a:pt x="178245" y="266585"/>
                  </a:cubicBezTo>
                  <a:cubicBezTo>
                    <a:pt x="174281" y="268672"/>
                    <a:pt x="170953" y="263347"/>
                    <a:pt x="163450" y="263620"/>
                  </a:cubicBezTo>
                  <a:cubicBezTo>
                    <a:pt x="152860" y="264043"/>
                    <a:pt x="140818" y="275389"/>
                    <a:pt x="139790" y="286796"/>
                  </a:cubicBezTo>
                  <a:cubicBezTo>
                    <a:pt x="138640" y="299715"/>
                    <a:pt x="152588" y="302045"/>
                    <a:pt x="161483" y="324252"/>
                  </a:cubicBezTo>
                  <a:cubicBezTo>
                    <a:pt x="168866" y="342678"/>
                    <a:pt x="161967" y="347882"/>
                    <a:pt x="169380" y="357776"/>
                  </a:cubicBezTo>
                  <a:cubicBezTo>
                    <a:pt x="182934" y="375899"/>
                    <a:pt x="213614" y="368698"/>
                    <a:pt x="215732" y="379469"/>
                  </a:cubicBezTo>
                  <a:cubicBezTo>
                    <a:pt x="216640" y="384068"/>
                    <a:pt x="211889" y="389877"/>
                    <a:pt x="206867" y="391783"/>
                  </a:cubicBezTo>
                  <a:cubicBezTo>
                    <a:pt x="195944" y="395898"/>
                    <a:pt x="188290" y="379893"/>
                    <a:pt x="171377" y="379469"/>
                  </a:cubicBezTo>
                  <a:cubicBezTo>
                    <a:pt x="155976" y="379076"/>
                    <a:pt x="153435" y="392086"/>
                    <a:pt x="141786" y="390301"/>
                  </a:cubicBezTo>
                  <a:cubicBezTo>
                    <a:pt x="124843" y="387699"/>
                    <a:pt x="125146" y="359319"/>
                    <a:pt x="102847" y="352330"/>
                  </a:cubicBezTo>
                  <a:cubicBezTo>
                    <a:pt x="95949" y="350182"/>
                    <a:pt x="96312" y="353026"/>
                    <a:pt x="81154" y="350847"/>
                  </a:cubicBezTo>
                  <a:cubicBezTo>
                    <a:pt x="64937" y="348518"/>
                    <a:pt x="61306" y="344826"/>
                    <a:pt x="48629" y="342467"/>
                  </a:cubicBezTo>
                  <a:cubicBezTo>
                    <a:pt x="36224" y="340167"/>
                    <a:pt x="19401" y="337051"/>
                    <a:pt x="9175" y="345916"/>
                  </a:cubicBezTo>
                  <a:cubicBezTo>
                    <a:pt x="-2534" y="356082"/>
                    <a:pt x="-2685" y="379409"/>
                    <a:pt x="6724" y="393750"/>
                  </a:cubicBezTo>
                  <a:cubicBezTo>
                    <a:pt x="14349" y="405399"/>
                    <a:pt x="25301" y="406579"/>
                    <a:pt x="48145" y="417410"/>
                  </a:cubicBezTo>
                  <a:cubicBezTo>
                    <a:pt x="68053" y="426850"/>
                    <a:pt x="83030" y="436986"/>
                    <a:pt x="92500" y="444035"/>
                  </a:cubicBezTo>
                  <a:lnTo>
                    <a:pt x="92500" y="482975"/>
                  </a:lnTo>
                  <a:lnTo>
                    <a:pt x="109745" y="506635"/>
                  </a:lnTo>
                  <a:lnTo>
                    <a:pt x="109745" y="545090"/>
                  </a:lnTo>
                  <a:lnTo>
                    <a:pt x="148685" y="597826"/>
                  </a:lnTo>
                  <a:lnTo>
                    <a:pt x="132407" y="689017"/>
                  </a:lnTo>
                  <a:lnTo>
                    <a:pt x="195007" y="689017"/>
                  </a:lnTo>
                  <a:lnTo>
                    <a:pt x="195007" y="706263"/>
                  </a:lnTo>
                  <a:lnTo>
                    <a:pt x="230981" y="766896"/>
                  </a:lnTo>
                  <a:lnTo>
                    <a:pt x="277333" y="766896"/>
                  </a:lnTo>
                  <a:lnTo>
                    <a:pt x="292128" y="789588"/>
                  </a:lnTo>
                  <a:lnTo>
                    <a:pt x="304956" y="778756"/>
                  </a:lnTo>
                  <a:lnTo>
                    <a:pt x="345378" y="785655"/>
                  </a:lnTo>
                  <a:lnTo>
                    <a:pt x="345378" y="812280"/>
                  </a:lnTo>
                  <a:lnTo>
                    <a:pt x="362201" y="812280"/>
                  </a:lnTo>
                  <a:lnTo>
                    <a:pt x="366134" y="834972"/>
                  </a:lnTo>
                  <a:lnTo>
                    <a:pt x="351339" y="848768"/>
                  </a:lnTo>
                  <a:lnTo>
                    <a:pt x="327679" y="907919"/>
                  </a:lnTo>
                  <a:lnTo>
                    <a:pt x="297120" y="947372"/>
                  </a:lnTo>
                  <a:lnTo>
                    <a:pt x="305985" y="973998"/>
                  </a:lnTo>
                  <a:lnTo>
                    <a:pt x="294155" y="1024283"/>
                  </a:lnTo>
                  <a:lnTo>
                    <a:pt x="390792" y="953303"/>
                  </a:lnTo>
                  <a:lnTo>
                    <a:pt x="490364" y="926677"/>
                  </a:lnTo>
                  <a:lnTo>
                    <a:pt x="603764" y="914847"/>
                  </a:lnTo>
                  <a:lnTo>
                    <a:pt x="716164" y="1023314"/>
                  </a:lnTo>
                  <a:lnTo>
                    <a:pt x="714198" y="1044010"/>
                  </a:lnTo>
                  <a:lnTo>
                    <a:pt x="799973" y="1183035"/>
                  </a:lnTo>
                  <a:lnTo>
                    <a:pt x="817733" y="1176137"/>
                  </a:lnTo>
                  <a:lnTo>
                    <a:pt x="844358" y="1180070"/>
                  </a:lnTo>
                  <a:lnTo>
                    <a:pt x="864085" y="1170207"/>
                  </a:lnTo>
                  <a:lnTo>
                    <a:pt x="890710" y="1171205"/>
                  </a:lnTo>
                  <a:lnTo>
                    <a:pt x="936064" y="334116"/>
                  </a:lnTo>
                  <a:lnTo>
                    <a:pt x="1050129" y="302256"/>
                  </a:lnTo>
                  <a:lnTo>
                    <a:pt x="1028768" y="111281"/>
                  </a:lnTo>
                  <a:lnTo>
                    <a:pt x="1013247" y="6840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Полилиния: фигура 10">
              <a:extLst>
                <a:ext uri="{FF2B5EF4-FFF2-40B4-BE49-F238E27FC236}">
                  <a16:creationId xmlns:a16="http://schemas.microsoft.com/office/drawing/2014/main" xmlns="" id="{985BFC4F-5932-4068-B9CF-6BC45A443B78}"/>
                </a:ext>
              </a:extLst>
            </p:cNvPr>
            <p:cNvSpPr/>
            <p:nvPr/>
          </p:nvSpPr>
          <p:spPr>
            <a:xfrm>
              <a:off x="2088604" y="3195561"/>
              <a:ext cx="21179" cy="21179"/>
            </a:xfrm>
            <a:custGeom>
              <a:avLst/>
              <a:gdLst>
                <a:gd name="connsiteX0" fmla="*/ 23 w 21179"/>
                <a:gd name="connsiteY0" fmla="*/ 12380 h 21179"/>
                <a:gd name="connsiteX1" fmla="*/ 14456 w 21179"/>
                <a:gd name="connsiteY1" fmla="*/ 5 h 21179"/>
                <a:gd name="connsiteX2" fmla="*/ 22957 w 21179"/>
                <a:gd name="connsiteY2" fmla="*/ 3515 h 21179"/>
                <a:gd name="connsiteX3" fmla="*/ 19085 w 21179"/>
                <a:gd name="connsiteY3" fmla="*/ 12198 h 21179"/>
                <a:gd name="connsiteX4" fmla="*/ 18903 w 21179"/>
                <a:gd name="connsiteY4" fmla="*/ 21820 h 21179"/>
                <a:gd name="connsiteX5" fmla="*/ 23 w 21179"/>
                <a:gd name="connsiteY5" fmla="*/ 12380 h 21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179" h="21179">
                  <a:moveTo>
                    <a:pt x="23" y="12380"/>
                  </a:moveTo>
                  <a:cubicBezTo>
                    <a:pt x="-491" y="6177"/>
                    <a:pt x="7557" y="217"/>
                    <a:pt x="14456" y="5"/>
                  </a:cubicBezTo>
                  <a:cubicBezTo>
                    <a:pt x="17632" y="-85"/>
                    <a:pt x="22171" y="973"/>
                    <a:pt x="22957" y="3515"/>
                  </a:cubicBezTo>
                  <a:cubicBezTo>
                    <a:pt x="23684" y="5905"/>
                    <a:pt x="20355" y="7266"/>
                    <a:pt x="19085" y="12198"/>
                  </a:cubicBezTo>
                  <a:cubicBezTo>
                    <a:pt x="17693" y="17493"/>
                    <a:pt x="20416" y="20216"/>
                    <a:pt x="18903" y="21820"/>
                  </a:cubicBezTo>
                  <a:cubicBezTo>
                    <a:pt x="15999" y="24845"/>
                    <a:pt x="719" y="20579"/>
                    <a:pt x="23" y="12380"/>
                  </a:cubicBezTo>
                  <a:close/>
                </a:path>
              </a:pathLst>
            </a:custGeom>
            <a:solidFill>
              <a:srgbClr val="CCCCCC"/>
            </a:solidFill>
            <a:ln w="887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Полилиния: фигура 11">
              <a:extLst>
                <a:ext uri="{FF2B5EF4-FFF2-40B4-BE49-F238E27FC236}">
                  <a16:creationId xmlns:a16="http://schemas.microsoft.com/office/drawing/2014/main" xmlns="" id="{BC73E1BD-1195-4E10-A2E7-2313E4AC679F}"/>
                </a:ext>
              </a:extLst>
            </p:cNvPr>
            <p:cNvSpPr/>
            <p:nvPr/>
          </p:nvSpPr>
          <p:spPr>
            <a:xfrm>
              <a:off x="2703881" y="1864488"/>
              <a:ext cx="1591459" cy="1388745"/>
            </a:xfrm>
            <a:custGeom>
              <a:avLst/>
              <a:gdLst>
                <a:gd name="connsiteX0" fmla="*/ 781146 w 1591459"/>
                <a:gd name="connsiteY0" fmla="*/ 1278553 h 1388745"/>
                <a:gd name="connsiteX1" fmla="*/ 799875 w 1591459"/>
                <a:gd name="connsiteY1" fmla="*/ 1272623 h 1388745"/>
                <a:gd name="connsiteX2" fmla="*/ 806773 w 1591459"/>
                <a:gd name="connsiteY2" fmla="*/ 1254863 h 1388745"/>
                <a:gd name="connsiteX3" fmla="*/ 822536 w 1591459"/>
                <a:gd name="connsiteY3" fmla="*/ 1275558 h 1388745"/>
                <a:gd name="connsiteX4" fmla="*/ 840297 w 1591459"/>
                <a:gd name="connsiteY4" fmla="*/ 1221339 h 1388745"/>
                <a:gd name="connsiteX5" fmla="*/ 815638 w 1591459"/>
                <a:gd name="connsiteY5" fmla="*/ 1228238 h 1388745"/>
                <a:gd name="connsiteX6" fmla="*/ 788045 w 1591459"/>
                <a:gd name="connsiteY6" fmla="*/ 1228238 h 1388745"/>
                <a:gd name="connsiteX7" fmla="*/ 795699 w 1591459"/>
                <a:gd name="connsiteY7" fmla="*/ 1186817 h 1388745"/>
                <a:gd name="connsiteX8" fmla="*/ 952455 w 1591459"/>
                <a:gd name="connsiteY8" fmla="*/ 995298 h 1388745"/>
                <a:gd name="connsiteX9" fmla="*/ 997567 w 1591459"/>
                <a:gd name="connsiteY9" fmla="*/ 995298 h 1388745"/>
                <a:gd name="connsiteX10" fmla="*/ 998293 w 1591459"/>
                <a:gd name="connsiteY10" fmla="*/ 928735 h 1388745"/>
                <a:gd name="connsiteX11" fmla="*/ 1087034 w 1591459"/>
                <a:gd name="connsiteY11" fmla="*/ 928009 h 1388745"/>
                <a:gd name="connsiteX12" fmla="*/ 1145458 w 1591459"/>
                <a:gd name="connsiteY12" fmla="*/ 797122 h 1388745"/>
                <a:gd name="connsiteX13" fmla="*/ 1252684 w 1591459"/>
                <a:gd name="connsiteY13" fmla="*/ 800813 h 1388745"/>
                <a:gd name="connsiteX14" fmla="*/ 1276344 w 1591459"/>
                <a:gd name="connsiteY14" fmla="*/ 842959 h 1388745"/>
                <a:gd name="connsiteX15" fmla="*/ 1308143 w 1591459"/>
                <a:gd name="connsiteY15" fmla="*/ 846650 h 1388745"/>
                <a:gd name="connsiteX16" fmla="*/ 1346599 w 1591459"/>
                <a:gd name="connsiteY16" fmla="*/ 898418 h 1388745"/>
                <a:gd name="connsiteX17" fmla="*/ 1345873 w 1591459"/>
                <a:gd name="connsiteY17" fmla="*/ 922835 h 1388745"/>
                <a:gd name="connsiteX18" fmla="*/ 1380637 w 1591459"/>
                <a:gd name="connsiteY18" fmla="*/ 941321 h 1388745"/>
                <a:gd name="connsiteX19" fmla="*/ 1594334 w 1591459"/>
                <a:gd name="connsiteY19" fmla="*/ 758666 h 1388745"/>
                <a:gd name="connsiteX20" fmla="*/ 1510767 w 1591459"/>
                <a:gd name="connsiteY20" fmla="*/ 641092 h 1388745"/>
                <a:gd name="connsiteX21" fmla="*/ 1405023 w 1591459"/>
                <a:gd name="connsiteY21" fmla="*/ 581185 h 1388745"/>
                <a:gd name="connsiteX22" fmla="*/ 1405749 w 1591459"/>
                <a:gd name="connsiteY22" fmla="*/ 556043 h 1388745"/>
                <a:gd name="connsiteX23" fmla="*/ 1385780 w 1591459"/>
                <a:gd name="connsiteY23" fmla="*/ 543486 h 1388745"/>
                <a:gd name="connsiteX24" fmla="*/ 1375433 w 1591459"/>
                <a:gd name="connsiteY24" fmla="*/ 553108 h 1388745"/>
                <a:gd name="connsiteX25" fmla="*/ 1332530 w 1591459"/>
                <a:gd name="connsiteY25" fmla="*/ 517618 h 1388745"/>
                <a:gd name="connsiteX26" fmla="*/ 1322182 w 1591459"/>
                <a:gd name="connsiteY26" fmla="*/ 491749 h 1388745"/>
                <a:gd name="connsiteX27" fmla="*/ 1292592 w 1591459"/>
                <a:gd name="connsiteY27" fmla="*/ 466606 h 1388745"/>
                <a:gd name="connsiteX28" fmla="*/ 1315526 w 1591459"/>
                <a:gd name="connsiteY28" fmla="*/ 444429 h 1388745"/>
                <a:gd name="connsiteX29" fmla="*/ 1297040 w 1591459"/>
                <a:gd name="connsiteY29" fmla="*/ 402282 h 1388745"/>
                <a:gd name="connsiteX30" fmla="*/ 1311835 w 1591459"/>
                <a:gd name="connsiteY30" fmla="*/ 388970 h 1388745"/>
                <a:gd name="connsiteX31" fmla="*/ 1311835 w 1591459"/>
                <a:gd name="connsiteY31" fmla="*/ 357897 h 1388745"/>
                <a:gd name="connsiteX32" fmla="*/ 1347325 w 1591459"/>
                <a:gd name="connsiteY32" fmla="*/ 298747 h 1388745"/>
                <a:gd name="connsiteX33" fmla="*/ 1368020 w 1591459"/>
                <a:gd name="connsiteY33" fmla="*/ 305403 h 1388745"/>
                <a:gd name="connsiteX34" fmla="*/ 1372468 w 1591459"/>
                <a:gd name="connsiteY34" fmla="*/ 265465 h 1388745"/>
                <a:gd name="connsiteX35" fmla="*/ 1310352 w 1591459"/>
                <a:gd name="connsiteY35" fmla="*/ 165621 h 1388745"/>
                <a:gd name="connsiteX36" fmla="*/ 1294831 w 1591459"/>
                <a:gd name="connsiteY36" fmla="*/ 127166 h 1388745"/>
                <a:gd name="connsiteX37" fmla="*/ 1277071 w 1591459"/>
                <a:gd name="connsiteY37" fmla="*/ 133822 h 1388745"/>
                <a:gd name="connsiteX38" fmla="*/ 1263758 w 1591459"/>
                <a:gd name="connsiteY38" fmla="*/ 125683 h 1388745"/>
                <a:gd name="connsiteX39" fmla="*/ 1266723 w 1591459"/>
                <a:gd name="connsiteY39" fmla="*/ 99814 h 1388745"/>
                <a:gd name="connsiteX40" fmla="*/ 1303696 w 1591459"/>
                <a:gd name="connsiteY40" fmla="*/ 96123 h 1388745"/>
                <a:gd name="connsiteX41" fmla="*/ 1258584 w 1591459"/>
                <a:gd name="connsiteY41" fmla="*/ 63598 h 1388745"/>
                <a:gd name="connsiteX42" fmla="*/ 1269688 w 1591459"/>
                <a:gd name="connsiteY42" fmla="*/ 36246 h 1388745"/>
                <a:gd name="connsiteX43" fmla="*/ 1251928 w 1591459"/>
                <a:gd name="connsiteY43" fmla="*/ 21452 h 1388745"/>
                <a:gd name="connsiteX44" fmla="*/ 1231233 w 1591459"/>
                <a:gd name="connsiteY44" fmla="*/ 43629 h 1388745"/>
                <a:gd name="connsiteX45" fmla="*/ 1218677 w 1591459"/>
                <a:gd name="connsiteY45" fmla="*/ 28834 h 1388745"/>
                <a:gd name="connsiteX46" fmla="*/ 1216468 w 1591459"/>
                <a:gd name="connsiteY46" fmla="*/ 0 h 1388745"/>
                <a:gd name="connsiteX47" fmla="*/ 1186696 w 1591459"/>
                <a:gd name="connsiteY47" fmla="*/ 2360 h 1388745"/>
                <a:gd name="connsiteX48" fmla="*/ 1201673 w 1591459"/>
                <a:gd name="connsiteY48" fmla="*/ 18002 h 1388745"/>
                <a:gd name="connsiteX49" fmla="*/ 1184911 w 1591459"/>
                <a:gd name="connsiteY49" fmla="*/ 20967 h 1388745"/>
                <a:gd name="connsiteX50" fmla="*/ 1168634 w 1591459"/>
                <a:gd name="connsiteY50" fmla="*/ 115608 h 1388745"/>
                <a:gd name="connsiteX51" fmla="*/ 1084341 w 1591459"/>
                <a:gd name="connsiteY51" fmla="*/ 147649 h 1388745"/>
                <a:gd name="connsiteX52" fmla="*/ 1000048 w 1591459"/>
                <a:gd name="connsiteY52" fmla="*/ 147649 h 1388745"/>
                <a:gd name="connsiteX53" fmla="*/ 968007 w 1591459"/>
                <a:gd name="connsiteY53" fmla="*/ 109194 h 1388745"/>
                <a:gd name="connsiteX54" fmla="*/ 952243 w 1591459"/>
                <a:gd name="connsiteY54" fmla="*/ 129888 h 1388745"/>
                <a:gd name="connsiteX55" fmla="*/ 958658 w 1591459"/>
                <a:gd name="connsiteY55" fmla="*/ 152066 h 1388745"/>
                <a:gd name="connsiteX56" fmla="*/ 933999 w 1591459"/>
                <a:gd name="connsiteY56" fmla="*/ 177209 h 1388745"/>
                <a:gd name="connsiteX57" fmla="*/ 909341 w 1591459"/>
                <a:gd name="connsiteY57" fmla="*/ 181142 h 1388745"/>
                <a:gd name="connsiteX58" fmla="*/ 894545 w 1591459"/>
                <a:gd name="connsiteY58" fmla="*/ 191974 h 1388745"/>
                <a:gd name="connsiteX59" fmla="*/ 887647 w 1591459"/>
                <a:gd name="connsiteY59" fmla="*/ 178177 h 1388745"/>
                <a:gd name="connsiteX60" fmla="*/ 893063 w 1591459"/>
                <a:gd name="connsiteY60" fmla="*/ 161415 h 1388745"/>
                <a:gd name="connsiteX61" fmla="*/ 845743 w 1591459"/>
                <a:gd name="connsiteY61" fmla="*/ 151068 h 1388745"/>
                <a:gd name="connsiteX62" fmla="*/ 793491 w 1591459"/>
                <a:gd name="connsiteY62" fmla="*/ 137755 h 1388745"/>
                <a:gd name="connsiteX63" fmla="*/ 780662 w 1591459"/>
                <a:gd name="connsiteY63" fmla="*/ 111614 h 1388745"/>
                <a:gd name="connsiteX64" fmla="*/ 759453 w 1591459"/>
                <a:gd name="connsiteY64" fmla="*/ 96335 h 1388745"/>
                <a:gd name="connsiteX65" fmla="*/ 762902 w 1591459"/>
                <a:gd name="connsiteY65" fmla="*/ 80571 h 1388745"/>
                <a:gd name="connsiteX66" fmla="*/ 750588 w 1591459"/>
                <a:gd name="connsiteY66" fmla="*/ 58878 h 1388745"/>
                <a:gd name="connsiteX67" fmla="*/ 728894 w 1591459"/>
                <a:gd name="connsiteY67" fmla="*/ 56427 h 1388745"/>
                <a:gd name="connsiteX68" fmla="*/ 721996 w 1591459"/>
                <a:gd name="connsiteY68" fmla="*/ 30800 h 1388745"/>
                <a:gd name="connsiteX69" fmla="*/ 693404 w 1591459"/>
                <a:gd name="connsiteY69" fmla="*/ 53492 h 1388745"/>
                <a:gd name="connsiteX70" fmla="*/ 684539 w 1591459"/>
                <a:gd name="connsiteY70" fmla="*/ 42146 h 1388745"/>
                <a:gd name="connsiteX71" fmla="*/ 670743 w 1591459"/>
                <a:gd name="connsiteY71" fmla="*/ 49045 h 1388745"/>
                <a:gd name="connsiteX72" fmla="*/ 637703 w 1591459"/>
                <a:gd name="connsiteY72" fmla="*/ 38697 h 1388745"/>
                <a:gd name="connsiteX73" fmla="*/ 628324 w 1591459"/>
                <a:gd name="connsiteY73" fmla="*/ 82568 h 1388745"/>
                <a:gd name="connsiteX74" fmla="*/ 606146 w 1591459"/>
                <a:gd name="connsiteY74" fmla="*/ 83052 h 1388745"/>
                <a:gd name="connsiteX75" fmla="*/ 596283 w 1591459"/>
                <a:gd name="connsiteY75" fmla="*/ 97848 h 1388745"/>
                <a:gd name="connsiteX76" fmla="*/ 575074 w 1591459"/>
                <a:gd name="connsiteY76" fmla="*/ 70254 h 1388745"/>
                <a:gd name="connsiteX77" fmla="*/ 562759 w 1591459"/>
                <a:gd name="connsiteY77" fmla="*/ 43145 h 1388745"/>
                <a:gd name="connsiteX78" fmla="*/ 522338 w 1591459"/>
                <a:gd name="connsiteY78" fmla="*/ 49075 h 1388745"/>
                <a:gd name="connsiteX79" fmla="*/ 509509 w 1591459"/>
                <a:gd name="connsiteY79" fmla="*/ 42661 h 1388745"/>
                <a:gd name="connsiteX80" fmla="*/ 486817 w 1591459"/>
                <a:gd name="connsiteY80" fmla="*/ 44143 h 1388745"/>
                <a:gd name="connsiteX81" fmla="*/ 492233 w 1591459"/>
                <a:gd name="connsiteY81" fmla="*/ 68802 h 1388745"/>
                <a:gd name="connsiteX82" fmla="*/ 481886 w 1591459"/>
                <a:gd name="connsiteY82" fmla="*/ 67804 h 1388745"/>
                <a:gd name="connsiteX83" fmla="*/ 452295 w 1591459"/>
                <a:gd name="connsiteY83" fmla="*/ 40210 h 1388745"/>
                <a:gd name="connsiteX84" fmla="*/ 435533 w 1591459"/>
                <a:gd name="connsiteY84" fmla="*/ 84565 h 1388745"/>
                <a:gd name="connsiteX85" fmla="*/ 416321 w 1591459"/>
                <a:gd name="connsiteY85" fmla="*/ 73734 h 1388745"/>
                <a:gd name="connsiteX86" fmla="*/ 405489 w 1591459"/>
                <a:gd name="connsiteY86" fmla="*/ 84565 h 1388745"/>
                <a:gd name="connsiteX87" fmla="*/ 400558 w 1591459"/>
                <a:gd name="connsiteY87" fmla="*/ 120540 h 1388745"/>
                <a:gd name="connsiteX88" fmla="*/ 369999 w 1591459"/>
                <a:gd name="connsiteY88" fmla="*/ 135819 h 1388745"/>
                <a:gd name="connsiteX89" fmla="*/ 334993 w 1591459"/>
                <a:gd name="connsiteY89" fmla="*/ 156393 h 1388745"/>
                <a:gd name="connsiteX90" fmla="*/ 316870 w 1591459"/>
                <a:gd name="connsiteY90" fmla="*/ 141598 h 1388745"/>
                <a:gd name="connsiteX91" fmla="*/ 311696 w 1591459"/>
                <a:gd name="connsiteY91" fmla="*/ 131250 h 1388745"/>
                <a:gd name="connsiteX92" fmla="*/ 285827 w 1591459"/>
                <a:gd name="connsiteY92" fmla="*/ 126439 h 1388745"/>
                <a:gd name="connsiteX93" fmla="*/ 252183 w 1591459"/>
                <a:gd name="connsiteY93" fmla="*/ 93158 h 1388745"/>
                <a:gd name="connsiteX94" fmla="*/ 261441 w 1591459"/>
                <a:gd name="connsiteY94" fmla="*/ 78726 h 1388745"/>
                <a:gd name="connsiteX95" fmla="*/ 250337 w 1591459"/>
                <a:gd name="connsiteY95" fmla="*/ 65050 h 1388745"/>
                <a:gd name="connsiteX96" fmla="*/ 233333 w 1591459"/>
                <a:gd name="connsiteY96" fmla="*/ 65413 h 1388745"/>
                <a:gd name="connsiteX97" fmla="*/ 191913 w 1591459"/>
                <a:gd name="connsiteY97" fmla="*/ 39151 h 1388745"/>
                <a:gd name="connsiteX98" fmla="*/ 180083 w 1591459"/>
                <a:gd name="connsiteY98" fmla="*/ 58000 h 1388745"/>
                <a:gd name="connsiteX99" fmla="*/ 193759 w 1591459"/>
                <a:gd name="connsiteY99" fmla="*/ 68711 h 1388745"/>
                <a:gd name="connsiteX100" fmla="*/ 193033 w 1591459"/>
                <a:gd name="connsiteY100" fmla="*/ 83506 h 1388745"/>
                <a:gd name="connsiteX101" fmla="*/ 192306 w 1591459"/>
                <a:gd name="connsiteY101" fmla="*/ 129344 h 1388745"/>
                <a:gd name="connsiteX102" fmla="*/ 166438 w 1591459"/>
                <a:gd name="connsiteY102" fmla="*/ 148950 h 1388745"/>
                <a:gd name="connsiteX103" fmla="*/ 156272 w 1591459"/>
                <a:gd name="connsiteY103" fmla="*/ 132460 h 1388745"/>
                <a:gd name="connsiteX104" fmla="*/ 131462 w 1591459"/>
                <a:gd name="connsiteY104" fmla="*/ 182110 h 1388745"/>
                <a:gd name="connsiteX105" fmla="*/ 164985 w 1591459"/>
                <a:gd name="connsiteY105" fmla="*/ 254089 h 1388745"/>
                <a:gd name="connsiteX106" fmla="*/ 130463 w 1591459"/>
                <a:gd name="connsiteY106" fmla="*/ 303376 h 1388745"/>
                <a:gd name="connsiteX107" fmla="*/ 129465 w 1591459"/>
                <a:gd name="connsiteY107" fmla="*/ 345764 h 1388745"/>
                <a:gd name="connsiteX108" fmla="*/ 66351 w 1591459"/>
                <a:gd name="connsiteY108" fmla="*/ 353661 h 1388745"/>
                <a:gd name="connsiteX109" fmla="*/ 57486 w 1591459"/>
                <a:gd name="connsiteY109" fmla="*/ 344796 h 1388745"/>
                <a:gd name="connsiteX110" fmla="*/ 8199 w 1591459"/>
                <a:gd name="connsiteY110" fmla="*/ 371421 h 1388745"/>
                <a:gd name="connsiteX111" fmla="*/ 1301 w 1591459"/>
                <a:gd name="connsiteY111" fmla="*/ 419740 h 1388745"/>
                <a:gd name="connsiteX112" fmla="*/ 0 w 1591459"/>
                <a:gd name="connsiteY112" fmla="*/ 421555 h 1388745"/>
                <a:gd name="connsiteX113" fmla="*/ 48652 w 1591459"/>
                <a:gd name="connsiteY113" fmla="*/ 447363 h 1388745"/>
                <a:gd name="connsiteX114" fmla="*/ 49650 w 1591459"/>
                <a:gd name="connsiteY114" fmla="*/ 530174 h 1388745"/>
                <a:gd name="connsiteX115" fmla="*/ 115698 w 1591459"/>
                <a:gd name="connsiteY115" fmla="*/ 569628 h 1388745"/>
                <a:gd name="connsiteX116" fmla="*/ 141325 w 1591459"/>
                <a:gd name="connsiteY116" fmla="*/ 538071 h 1388745"/>
                <a:gd name="connsiteX117" fmla="*/ 186679 w 1591459"/>
                <a:gd name="connsiteY117" fmla="*/ 556799 h 1388745"/>
                <a:gd name="connsiteX118" fmla="*/ 169917 w 1591459"/>
                <a:gd name="connsiteY118" fmla="*/ 622848 h 1388745"/>
                <a:gd name="connsiteX119" fmla="*/ 176815 w 1591459"/>
                <a:gd name="connsiteY119" fmla="*/ 644541 h 1388745"/>
                <a:gd name="connsiteX120" fmla="*/ 176815 w 1591459"/>
                <a:gd name="connsiteY120" fmla="*/ 690893 h 1388745"/>
                <a:gd name="connsiteX121" fmla="*/ 192579 w 1591459"/>
                <a:gd name="connsiteY121" fmla="*/ 736247 h 1388745"/>
                <a:gd name="connsiteX122" fmla="*/ 169887 w 1591459"/>
                <a:gd name="connsiteY122" fmla="*/ 907798 h 1388745"/>
                <a:gd name="connsiteX123" fmla="*/ 240867 w 1591459"/>
                <a:gd name="connsiteY123" fmla="*/ 1029063 h 1388745"/>
                <a:gd name="connsiteX124" fmla="*/ 354266 w 1591459"/>
                <a:gd name="connsiteY124" fmla="*/ 1075415 h 1388745"/>
                <a:gd name="connsiteX125" fmla="*/ 398621 w 1591459"/>
                <a:gd name="connsiteY125" fmla="*/ 1198647 h 1388745"/>
                <a:gd name="connsiteX126" fmla="*/ 419982 w 1591459"/>
                <a:gd name="connsiteY126" fmla="*/ 1389623 h 1388745"/>
                <a:gd name="connsiteX127" fmla="*/ 725960 w 1591459"/>
                <a:gd name="connsiteY127" fmla="*/ 1304150 h 1388745"/>
                <a:gd name="connsiteX128" fmla="*/ 764143 w 1591459"/>
                <a:gd name="connsiteY128" fmla="*/ 1327053 h 1388745"/>
                <a:gd name="connsiteX129" fmla="*/ 777243 w 1591459"/>
                <a:gd name="connsiteY129" fmla="*/ 1311048 h 1388745"/>
                <a:gd name="connsiteX130" fmla="*/ 781146 w 1591459"/>
                <a:gd name="connsiteY130" fmla="*/ 1278553 h 1388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91459" h="1388745">
                  <a:moveTo>
                    <a:pt x="781146" y="1278553"/>
                  </a:moveTo>
                  <a:lnTo>
                    <a:pt x="799875" y="1272623"/>
                  </a:lnTo>
                  <a:lnTo>
                    <a:pt x="806773" y="1254863"/>
                  </a:lnTo>
                  <a:lnTo>
                    <a:pt x="822536" y="1275558"/>
                  </a:lnTo>
                  <a:lnTo>
                    <a:pt x="840297" y="1221339"/>
                  </a:lnTo>
                  <a:lnTo>
                    <a:pt x="815638" y="1228238"/>
                  </a:lnTo>
                  <a:lnTo>
                    <a:pt x="788045" y="1228238"/>
                  </a:lnTo>
                  <a:lnTo>
                    <a:pt x="795699" y="1186817"/>
                  </a:lnTo>
                  <a:lnTo>
                    <a:pt x="952455" y="995298"/>
                  </a:lnTo>
                  <a:lnTo>
                    <a:pt x="997567" y="995298"/>
                  </a:lnTo>
                  <a:lnTo>
                    <a:pt x="998293" y="928735"/>
                  </a:lnTo>
                  <a:lnTo>
                    <a:pt x="1087034" y="928009"/>
                  </a:lnTo>
                  <a:lnTo>
                    <a:pt x="1145458" y="797122"/>
                  </a:lnTo>
                  <a:lnTo>
                    <a:pt x="1252684" y="800813"/>
                  </a:lnTo>
                  <a:lnTo>
                    <a:pt x="1276344" y="842959"/>
                  </a:lnTo>
                  <a:lnTo>
                    <a:pt x="1308143" y="846650"/>
                  </a:lnTo>
                  <a:lnTo>
                    <a:pt x="1346599" y="898418"/>
                  </a:lnTo>
                  <a:lnTo>
                    <a:pt x="1345873" y="922835"/>
                  </a:lnTo>
                  <a:lnTo>
                    <a:pt x="1380637" y="941321"/>
                  </a:lnTo>
                  <a:lnTo>
                    <a:pt x="1594334" y="758666"/>
                  </a:lnTo>
                  <a:lnTo>
                    <a:pt x="1510767" y="641092"/>
                  </a:lnTo>
                  <a:lnTo>
                    <a:pt x="1405023" y="581185"/>
                  </a:lnTo>
                  <a:lnTo>
                    <a:pt x="1405749" y="556043"/>
                  </a:lnTo>
                  <a:lnTo>
                    <a:pt x="1385780" y="543486"/>
                  </a:lnTo>
                  <a:lnTo>
                    <a:pt x="1375433" y="553108"/>
                  </a:lnTo>
                  <a:lnTo>
                    <a:pt x="1332530" y="517618"/>
                  </a:lnTo>
                  <a:lnTo>
                    <a:pt x="1322182" y="491749"/>
                  </a:lnTo>
                  <a:lnTo>
                    <a:pt x="1292592" y="466606"/>
                  </a:lnTo>
                  <a:lnTo>
                    <a:pt x="1315526" y="444429"/>
                  </a:lnTo>
                  <a:lnTo>
                    <a:pt x="1297040" y="402282"/>
                  </a:lnTo>
                  <a:lnTo>
                    <a:pt x="1311835" y="388970"/>
                  </a:lnTo>
                  <a:lnTo>
                    <a:pt x="1311835" y="357897"/>
                  </a:lnTo>
                  <a:lnTo>
                    <a:pt x="1347325" y="298747"/>
                  </a:lnTo>
                  <a:lnTo>
                    <a:pt x="1368020" y="305403"/>
                  </a:lnTo>
                  <a:lnTo>
                    <a:pt x="1372468" y="265465"/>
                  </a:lnTo>
                  <a:lnTo>
                    <a:pt x="1310352" y="165621"/>
                  </a:lnTo>
                  <a:lnTo>
                    <a:pt x="1294831" y="127166"/>
                  </a:lnTo>
                  <a:lnTo>
                    <a:pt x="1277071" y="133822"/>
                  </a:lnTo>
                  <a:lnTo>
                    <a:pt x="1263758" y="125683"/>
                  </a:lnTo>
                  <a:lnTo>
                    <a:pt x="1266723" y="99814"/>
                  </a:lnTo>
                  <a:lnTo>
                    <a:pt x="1303696" y="96123"/>
                  </a:lnTo>
                  <a:lnTo>
                    <a:pt x="1258584" y="63598"/>
                  </a:lnTo>
                  <a:lnTo>
                    <a:pt x="1269688" y="36246"/>
                  </a:lnTo>
                  <a:lnTo>
                    <a:pt x="1251928" y="21452"/>
                  </a:lnTo>
                  <a:lnTo>
                    <a:pt x="1231233" y="43629"/>
                  </a:lnTo>
                  <a:lnTo>
                    <a:pt x="1218677" y="28834"/>
                  </a:lnTo>
                  <a:lnTo>
                    <a:pt x="1216468" y="0"/>
                  </a:lnTo>
                  <a:lnTo>
                    <a:pt x="1186696" y="2360"/>
                  </a:lnTo>
                  <a:lnTo>
                    <a:pt x="1201673" y="18002"/>
                  </a:lnTo>
                  <a:lnTo>
                    <a:pt x="1184911" y="20967"/>
                  </a:lnTo>
                  <a:lnTo>
                    <a:pt x="1168634" y="115608"/>
                  </a:lnTo>
                  <a:lnTo>
                    <a:pt x="1084341" y="147649"/>
                  </a:lnTo>
                  <a:lnTo>
                    <a:pt x="1000048" y="147649"/>
                  </a:lnTo>
                  <a:cubicBezTo>
                    <a:pt x="994692" y="121568"/>
                    <a:pt x="978869" y="107227"/>
                    <a:pt x="968007" y="109194"/>
                  </a:cubicBezTo>
                  <a:cubicBezTo>
                    <a:pt x="960413" y="110585"/>
                    <a:pt x="952879" y="120388"/>
                    <a:pt x="952243" y="129888"/>
                  </a:cubicBezTo>
                  <a:cubicBezTo>
                    <a:pt x="951548" y="140145"/>
                    <a:pt x="959384" y="142687"/>
                    <a:pt x="958658" y="152066"/>
                  </a:cubicBezTo>
                  <a:cubicBezTo>
                    <a:pt x="957780" y="163473"/>
                    <a:pt x="945164" y="173729"/>
                    <a:pt x="933999" y="177209"/>
                  </a:cubicBezTo>
                  <a:cubicBezTo>
                    <a:pt x="923047" y="180628"/>
                    <a:pt x="918659" y="175908"/>
                    <a:pt x="909341" y="181142"/>
                  </a:cubicBezTo>
                  <a:cubicBezTo>
                    <a:pt x="900930" y="185892"/>
                    <a:pt x="898933" y="192881"/>
                    <a:pt x="894545" y="191974"/>
                  </a:cubicBezTo>
                  <a:cubicBezTo>
                    <a:pt x="890400" y="191126"/>
                    <a:pt x="887708" y="183956"/>
                    <a:pt x="887647" y="178177"/>
                  </a:cubicBezTo>
                  <a:cubicBezTo>
                    <a:pt x="887526" y="168919"/>
                    <a:pt x="894213" y="165923"/>
                    <a:pt x="893063" y="161415"/>
                  </a:cubicBezTo>
                  <a:cubicBezTo>
                    <a:pt x="891308" y="154456"/>
                    <a:pt x="873669" y="154033"/>
                    <a:pt x="845743" y="151068"/>
                  </a:cubicBezTo>
                  <a:cubicBezTo>
                    <a:pt x="803838" y="146620"/>
                    <a:pt x="797545" y="142717"/>
                    <a:pt x="793491" y="137755"/>
                  </a:cubicBezTo>
                  <a:cubicBezTo>
                    <a:pt x="785927" y="128497"/>
                    <a:pt x="790556" y="120903"/>
                    <a:pt x="780662" y="111614"/>
                  </a:cubicBezTo>
                  <a:cubicBezTo>
                    <a:pt x="771525" y="103052"/>
                    <a:pt x="761510" y="103899"/>
                    <a:pt x="759453" y="96335"/>
                  </a:cubicBezTo>
                  <a:cubicBezTo>
                    <a:pt x="757940" y="90798"/>
                    <a:pt x="762902" y="88922"/>
                    <a:pt x="762902" y="80571"/>
                  </a:cubicBezTo>
                  <a:cubicBezTo>
                    <a:pt x="762902" y="72372"/>
                    <a:pt x="758152" y="62811"/>
                    <a:pt x="750588" y="58878"/>
                  </a:cubicBezTo>
                  <a:cubicBezTo>
                    <a:pt x="741511" y="54188"/>
                    <a:pt x="734976" y="60996"/>
                    <a:pt x="728894" y="56427"/>
                  </a:cubicBezTo>
                  <a:cubicBezTo>
                    <a:pt x="720544" y="50134"/>
                    <a:pt x="726837" y="32646"/>
                    <a:pt x="721996" y="30800"/>
                  </a:cubicBezTo>
                  <a:cubicBezTo>
                    <a:pt x="715733" y="28410"/>
                    <a:pt x="701906" y="56246"/>
                    <a:pt x="693404" y="53492"/>
                  </a:cubicBezTo>
                  <a:cubicBezTo>
                    <a:pt x="688987" y="52070"/>
                    <a:pt x="689804" y="43599"/>
                    <a:pt x="684539" y="42146"/>
                  </a:cubicBezTo>
                  <a:cubicBezTo>
                    <a:pt x="679880" y="40876"/>
                    <a:pt x="677218" y="46927"/>
                    <a:pt x="670743" y="49045"/>
                  </a:cubicBezTo>
                  <a:cubicBezTo>
                    <a:pt x="657218" y="53523"/>
                    <a:pt x="645328" y="34946"/>
                    <a:pt x="637703" y="38697"/>
                  </a:cubicBezTo>
                  <a:cubicBezTo>
                    <a:pt x="628142" y="43387"/>
                    <a:pt x="639882" y="76094"/>
                    <a:pt x="628324" y="82568"/>
                  </a:cubicBezTo>
                  <a:cubicBezTo>
                    <a:pt x="621819" y="86229"/>
                    <a:pt x="614074" y="78151"/>
                    <a:pt x="606146" y="83052"/>
                  </a:cubicBezTo>
                  <a:cubicBezTo>
                    <a:pt x="598976" y="87500"/>
                    <a:pt x="600791" y="96910"/>
                    <a:pt x="596283" y="97848"/>
                  </a:cubicBezTo>
                  <a:cubicBezTo>
                    <a:pt x="588598" y="99451"/>
                    <a:pt x="576647" y="73582"/>
                    <a:pt x="575074" y="70254"/>
                  </a:cubicBezTo>
                  <a:cubicBezTo>
                    <a:pt x="566541" y="51798"/>
                    <a:pt x="568659" y="46110"/>
                    <a:pt x="562759" y="43145"/>
                  </a:cubicBezTo>
                  <a:cubicBezTo>
                    <a:pt x="551656" y="37578"/>
                    <a:pt x="538978" y="55126"/>
                    <a:pt x="522338" y="49075"/>
                  </a:cubicBezTo>
                  <a:cubicBezTo>
                    <a:pt x="517073" y="47169"/>
                    <a:pt x="516680" y="44809"/>
                    <a:pt x="509509" y="42661"/>
                  </a:cubicBezTo>
                  <a:cubicBezTo>
                    <a:pt x="502883" y="40694"/>
                    <a:pt x="490266" y="38879"/>
                    <a:pt x="486817" y="44143"/>
                  </a:cubicBezTo>
                  <a:cubicBezTo>
                    <a:pt x="482400" y="50890"/>
                    <a:pt x="496076" y="64687"/>
                    <a:pt x="492233" y="68802"/>
                  </a:cubicBezTo>
                  <a:cubicBezTo>
                    <a:pt x="490024" y="71162"/>
                    <a:pt x="483640" y="68560"/>
                    <a:pt x="481886" y="67804"/>
                  </a:cubicBezTo>
                  <a:cubicBezTo>
                    <a:pt x="462552" y="59816"/>
                    <a:pt x="458407" y="39302"/>
                    <a:pt x="452295" y="40210"/>
                  </a:cubicBezTo>
                  <a:cubicBezTo>
                    <a:pt x="443733" y="41481"/>
                    <a:pt x="445820" y="82720"/>
                    <a:pt x="435533" y="84565"/>
                  </a:cubicBezTo>
                  <a:cubicBezTo>
                    <a:pt x="429573" y="85654"/>
                    <a:pt x="424793" y="72523"/>
                    <a:pt x="416321" y="73734"/>
                  </a:cubicBezTo>
                  <a:cubicBezTo>
                    <a:pt x="410633" y="74520"/>
                    <a:pt x="407184" y="81237"/>
                    <a:pt x="405489" y="84565"/>
                  </a:cubicBezTo>
                  <a:cubicBezTo>
                    <a:pt x="397532" y="100087"/>
                    <a:pt x="406669" y="109738"/>
                    <a:pt x="400558" y="120540"/>
                  </a:cubicBezTo>
                  <a:cubicBezTo>
                    <a:pt x="395838" y="128890"/>
                    <a:pt x="389181" y="125259"/>
                    <a:pt x="369999" y="135819"/>
                  </a:cubicBezTo>
                  <a:cubicBezTo>
                    <a:pt x="348790" y="147497"/>
                    <a:pt x="345220" y="158359"/>
                    <a:pt x="334993" y="156393"/>
                  </a:cubicBezTo>
                  <a:cubicBezTo>
                    <a:pt x="327399" y="154940"/>
                    <a:pt x="320319" y="147255"/>
                    <a:pt x="316870" y="141598"/>
                  </a:cubicBezTo>
                  <a:cubicBezTo>
                    <a:pt x="313602" y="136242"/>
                    <a:pt x="314601" y="134336"/>
                    <a:pt x="311696" y="131250"/>
                  </a:cubicBezTo>
                  <a:cubicBezTo>
                    <a:pt x="305584" y="124775"/>
                    <a:pt x="296719" y="128376"/>
                    <a:pt x="285827" y="126439"/>
                  </a:cubicBezTo>
                  <a:cubicBezTo>
                    <a:pt x="266675" y="123051"/>
                    <a:pt x="249853" y="104141"/>
                    <a:pt x="252183" y="93158"/>
                  </a:cubicBezTo>
                  <a:cubicBezTo>
                    <a:pt x="253575" y="86532"/>
                    <a:pt x="261350" y="85624"/>
                    <a:pt x="261441" y="78726"/>
                  </a:cubicBezTo>
                  <a:cubicBezTo>
                    <a:pt x="261502" y="72826"/>
                    <a:pt x="255813" y="67289"/>
                    <a:pt x="250337" y="65050"/>
                  </a:cubicBezTo>
                  <a:cubicBezTo>
                    <a:pt x="243772" y="62357"/>
                    <a:pt x="239748" y="65353"/>
                    <a:pt x="233333" y="65413"/>
                  </a:cubicBezTo>
                  <a:cubicBezTo>
                    <a:pt x="213213" y="65625"/>
                    <a:pt x="205407" y="36670"/>
                    <a:pt x="191913" y="39151"/>
                  </a:cubicBezTo>
                  <a:cubicBezTo>
                    <a:pt x="184047" y="40603"/>
                    <a:pt x="177814" y="52101"/>
                    <a:pt x="180083" y="58000"/>
                  </a:cubicBezTo>
                  <a:cubicBezTo>
                    <a:pt x="182110" y="63295"/>
                    <a:pt x="190310" y="62176"/>
                    <a:pt x="193759" y="68711"/>
                  </a:cubicBezTo>
                  <a:cubicBezTo>
                    <a:pt x="196300" y="73522"/>
                    <a:pt x="194303" y="78635"/>
                    <a:pt x="193033" y="83506"/>
                  </a:cubicBezTo>
                  <a:cubicBezTo>
                    <a:pt x="187102" y="105956"/>
                    <a:pt x="198781" y="113671"/>
                    <a:pt x="192306" y="129344"/>
                  </a:cubicBezTo>
                  <a:cubicBezTo>
                    <a:pt x="187466" y="141023"/>
                    <a:pt x="174849" y="151552"/>
                    <a:pt x="166438" y="148950"/>
                  </a:cubicBezTo>
                  <a:cubicBezTo>
                    <a:pt x="160780" y="147195"/>
                    <a:pt x="157663" y="139691"/>
                    <a:pt x="156272" y="132460"/>
                  </a:cubicBezTo>
                  <a:lnTo>
                    <a:pt x="131462" y="182110"/>
                  </a:lnTo>
                  <a:lnTo>
                    <a:pt x="164985" y="254089"/>
                  </a:lnTo>
                  <a:lnTo>
                    <a:pt x="130463" y="303376"/>
                  </a:lnTo>
                  <a:lnTo>
                    <a:pt x="129465" y="345764"/>
                  </a:lnTo>
                  <a:lnTo>
                    <a:pt x="66351" y="353661"/>
                  </a:lnTo>
                  <a:lnTo>
                    <a:pt x="57486" y="344796"/>
                  </a:lnTo>
                  <a:lnTo>
                    <a:pt x="8199" y="371421"/>
                  </a:lnTo>
                  <a:lnTo>
                    <a:pt x="1301" y="419740"/>
                  </a:lnTo>
                  <a:lnTo>
                    <a:pt x="0" y="421555"/>
                  </a:lnTo>
                  <a:lnTo>
                    <a:pt x="48652" y="447363"/>
                  </a:lnTo>
                  <a:lnTo>
                    <a:pt x="49650" y="530174"/>
                  </a:lnTo>
                  <a:lnTo>
                    <a:pt x="115698" y="569628"/>
                  </a:lnTo>
                  <a:lnTo>
                    <a:pt x="141325" y="538071"/>
                  </a:lnTo>
                  <a:lnTo>
                    <a:pt x="186679" y="556799"/>
                  </a:lnTo>
                  <a:lnTo>
                    <a:pt x="169917" y="622848"/>
                  </a:lnTo>
                  <a:lnTo>
                    <a:pt x="176815" y="644541"/>
                  </a:lnTo>
                  <a:lnTo>
                    <a:pt x="176815" y="690893"/>
                  </a:lnTo>
                  <a:lnTo>
                    <a:pt x="192579" y="736247"/>
                  </a:lnTo>
                  <a:lnTo>
                    <a:pt x="169887" y="907798"/>
                  </a:lnTo>
                  <a:lnTo>
                    <a:pt x="240867" y="1029063"/>
                  </a:lnTo>
                  <a:lnTo>
                    <a:pt x="354266" y="1075415"/>
                  </a:lnTo>
                  <a:lnTo>
                    <a:pt x="398621" y="1198647"/>
                  </a:lnTo>
                  <a:lnTo>
                    <a:pt x="419982" y="1389623"/>
                  </a:lnTo>
                  <a:lnTo>
                    <a:pt x="725960" y="1304150"/>
                  </a:lnTo>
                  <a:lnTo>
                    <a:pt x="764143" y="1327053"/>
                  </a:lnTo>
                  <a:lnTo>
                    <a:pt x="777243" y="1311048"/>
                  </a:lnTo>
                  <a:lnTo>
                    <a:pt x="781146" y="127855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Полилиния: фигура 13">
              <a:extLst>
                <a:ext uri="{FF2B5EF4-FFF2-40B4-BE49-F238E27FC236}">
                  <a16:creationId xmlns:a16="http://schemas.microsoft.com/office/drawing/2014/main" xmlns="" id="{19FCFBA1-7D86-4004-8256-C52A82B97B07}"/>
                </a:ext>
              </a:extLst>
            </p:cNvPr>
            <p:cNvSpPr/>
            <p:nvPr/>
          </p:nvSpPr>
          <p:spPr>
            <a:xfrm>
              <a:off x="3669860" y="1087301"/>
              <a:ext cx="1152749" cy="1473461"/>
            </a:xfrm>
            <a:custGeom>
              <a:avLst/>
              <a:gdLst>
                <a:gd name="connsiteX0" fmla="*/ 623907 w 1152749"/>
                <a:gd name="connsiteY0" fmla="*/ 1404997 h 1473461"/>
                <a:gd name="connsiteX1" fmla="*/ 651258 w 1152749"/>
                <a:gd name="connsiteY1" fmla="*/ 1402788 h 1473461"/>
                <a:gd name="connsiteX2" fmla="*/ 649049 w 1152749"/>
                <a:gd name="connsiteY2" fmla="*/ 1345846 h 1473461"/>
                <a:gd name="connsiteX3" fmla="*/ 685296 w 1152749"/>
                <a:gd name="connsiteY3" fmla="*/ 1345120 h 1473461"/>
                <a:gd name="connsiteX4" fmla="*/ 694917 w 1152749"/>
                <a:gd name="connsiteY4" fmla="*/ 1300765 h 1473461"/>
                <a:gd name="connsiteX5" fmla="*/ 811009 w 1152749"/>
                <a:gd name="connsiteY5" fmla="*/ 1317043 h 1473461"/>
                <a:gd name="connsiteX6" fmla="*/ 855364 w 1152749"/>
                <a:gd name="connsiteY6" fmla="*/ 1279344 h 1473461"/>
                <a:gd name="connsiteX7" fmla="*/ 887163 w 1152749"/>
                <a:gd name="connsiteY7" fmla="*/ 1287483 h 1473461"/>
                <a:gd name="connsiteX8" fmla="*/ 927101 w 1152749"/>
                <a:gd name="connsiteY8" fmla="*/ 1226850 h 1473461"/>
                <a:gd name="connsiteX9" fmla="*/ 952970 w 1152749"/>
                <a:gd name="connsiteY9" fmla="*/ 1209090 h 1473461"/>
                <a:gd name="connsiteX10" fmla="*/ 967008 w 1152749"/>
                <a:gd name="connsiteY10" fmla="*/ 1157322 h 1473461"/>
                <a:gd name="connsiteX11" fmla="*/ 998081 w 1152749"/>
                <a:gd name="connsiteY11" fmla="*/ 1133662 h 1473461"/>
                <a:gd name="connsiteX12" fmla="*/ 1060196 w 1152749"/>
                <a:gd name="connsiteY12" fmla="*/ 1027918 h 1473461"/>
                <a:gd name="connsiteX13" fmla="*/ 1083857 w 1152749"/>
                <a:gd name="connsiteY13" fmla="*/ 1013879 h 1473461"/>
                <a:gd name="connsiteX14" fmla="*/ 1086065 w 1152749"/>
                <a:gd name="connsiteY14" fmla="*/ 976906 h 1473461"/>
                <a:gd name="connsiteX15" fmla="*/ 1137833 w 1152749"/>
                <a:gd name="connsiteY15" fmla="*/ 959902 h 1473461"/>
                <a:gd name="connsiteX16" fmla="*/ 1154111 w 1152749"/>
                <a:gd name="connsiteY16" fmla="*/ 911100 h 1473461"/>
                <a:gd name="connsiteX17" fmla="*/ 1125277 w 1152749"/>
                <a:gd name="connsiteY17" fmla="*/ 896304 h 1473461"/>
                <a:gd name="connsiteX18" fmla="*/ 1108999 w 1152749"/>
                <a:gd name="connsiteY18" fmla="*/ 919965 h 1473461"/>
                <a:gd name="connsiteX19" fmla="*/ 1079409 w 1152749"/>
                <a:gd name="connsiteY19" fmla="*/ 921447 h 1473461"/>
                <a:gd name="connsiteX20" fmla="*/ 1001016 w 1152749"/>
                <a:gd name="connsiteY20" fmla="*/ 950281 h 1473461"/>
                <a:gd name="connsiteX21" fmla="*/ 978082 w 1152749"/>
                <a:gd name="connsiteY21" fmla="*/ 941416 h 1473461"/>
                <a:gd name="connsiteX22" fmla="*/ 993603 w 1152749"/>
                <a:gd name="connsiteY22" fmla="*/ 914791 h 1473461"/>
                <a:gd name="connsiteX23" fmla="*/ 984738 w 1152749"/>
                <a:gd name="connsiteY23" fmla="*/ 880027 h 1473461"/>
                <a:gd name="connsiteX24" fmla="*/ 954422 w 1152749"/>
                <a:gd name="connsiteY24" fmla="*/ 894822 h 1473461"/>
                <a:gd name="connsiteX25" fmla="*/ 890824 w 1152749"/>
                <a:gd name="connsiteY25" fmla="*/ 877062 h 1473461"/>
                <a:gd name="connsiteX26" fmla="*/ 876029 w 1152749"/>
                <a:gd name="connsiteY26" fmla="*/ 854884 h 1473461"/>
                <a:gd name="connsiteX27" fmla="*/ 831674 w 1152749"/>
                <a:gd name="connsiteY27" fmla="*/ 829015 h 1473461"/>
                <a:gd name="connsiteX28" fmla="*/ 805049 w 1152749"/>
                <a:gd name="connsiteY28" fmla="*/ 865988 h 1473461"/>
                <a:gd name="connsiteX29" fmla="*/ 782871 w 1152749"/>
                <a:gd name="connsiteY29" fmla="*/ 865988 h 1473461"/>
                <a:gd name="connsiteX30" fmla="*/ 771041 w 1152749"/>
                <a:gd name="connsiteY30" fmla="*/ 805355 h 1473461"/>
                <a:gd name="connsiteX31" fmla="*/ 745172 w 1152749"/>
                <a:gd name="connsiteY31" fmla="*/ 780939 h 1473461"/>
                <a:gd name="connsiteX32" fmla="*/ 771797 w 1152749"/>
                <a:gd name="connsiteY32" fmla="*/ 673712 h 1473461"/>
                <a:gd name="connsiteX33" fmla="*/ 744446 w 1152749"/>
                <a:gd name="connsiteY33" fmla="*/ 662608 h 1473461"/>
                <a:gd name="connsiteX34" fmla="*/ 749620 w 1152749"/>
                <a:gd name="connsiteY34" fmla="*/ 646330 h 1473461"/>
                <a:gd name="connsiteX35" fmla="*/ 788075 w 1152749"/>
                <a:gd name="connsiteY35" fmla="*/ 635227 h 1473461"/>
                <a:gd name="connsiteX36" fmla="*/ 794731 w 1152749"/>
                <a:gd name="connsiteY36" fmla="*/ 593806 h 1473461"/>
                <a:gd name="connsiteX37" fmla="*/ 822083 w 1152749"/>
                <a:gd name="connsiteY37" fmla="*/ 557560 h 1473461"/>
                <a:gd name="connsiteX38" fmla="*/ 832430 w 1152749"/>
                <a:gd name="connsiteY38" fmla="*/ 408186 h 1473461"/>
                <a:gd name="connsiteX39" fmla="*/ 858299 w 1152749"/>
                <a:gd name="connsiteY39" fmla="*/ 385252 h 1473461"/>
                <a:gd name="connsiteX40" fmla="*/ 856816 w 1152749"/>
                <a:gd name="connsiteY40" fmla="*/ 368249 h 1473461"/>
                <a:gd name="connsiteX41" fmla="*/ 825017 w 1152749"/>
                <a:gd name="connsiteY41" fmla="*/ 371940 h 1473461"/>
                <a:gd name="connsiteX42" fmla="*/ 844230 w 1152749"/>
                <a:gd name="connsiteY42" fmla="*/ 334241 h 1473461"/>
                <a:gd name="connsiteX43" fmla="*/ 836091 w 1152749"/>
                <a:gd name="connsiteY43" fmla="*/ 297268 h 1473461"/>
                <a:gd name="connsiteX44" fmla="*/ 839782 w 1152749"/>
                <a:gd name="connsiteY44" fmla="*/ 258813 h 1473461"/>
                <a:gd name="connsiteX45" fmla="*/ 815366 w 1152749"/>
                <a:gd name="connsiteY45" fmla="*/ 256604 h 1473461"/>
                <a:gd name="connsiteX46" fmla="*/ 796879 w 1152749"/>
                <a:gd name="connsiteY46" fmla="*/ 161208 h 1473461"/>
                <a:gd name="connsiteX47" fmla="*/ 810192 w 1152749"/>
                <a:gd name="connsiteY47" fmla="*/ 136791 h 1473461"/>
                <a:gd name="connsiteX48" fmla="*/ 838300 w 1152749"/>
                <a:gd name="connsiteY48" fmla="*/ 136065 h 1473461"/>
                <a:gd name="connsiteX49" fmla="*/ 828678 w 1152749"/>
                <a:gd name="connsiteY49" fmla="*/ 105749 h 1473461"/>
                <a:gd name="connsiteX50" fmla="*/ 803536 w 1152749"/>
                <a:gd name="connsiteY50" fmla="*/ 94645 h 1473461"/>
                <a:gd name="connsiteX51" fmla="*/ 814640 w 1152749"/>
                <a:gd name="connsiteY51" fmla="*/ 76158 h 1473461"/>
                <a:gd name="connsiteX52" fmla="*/ 797968 w 1152749"/>
                <a:gd name="connsiteY52" fmla="*/ 14830 h 1473461"/>
                <a:gd name="connsiteX53" fmla="*/ 786290 w 1152749"/>
                <a:gd name="connsiteY53" fmla="*/ 19217 h 1473461"/>
                <a:gd name="connsiteX54" fmla="*/ 784807 w 1152749"/>
                <a:gd name="connsiteY54" fmla="*/ 3453 h 1473461"/>
                <a:gd name="connsiteX55" fmla="*/ 765595 w 1152749"/>
                <a:gd name="connsiteY55" fmla="*/ 3453 h 1473461"/>
                <a:gd name="connsiteX56" fmla="*/ 755731 w 1152749"/>
                <a:gd name="connsiteY56" fmla="*/ 25631 h 1473461"/>
                <a:gd name="connsiteX57" fmla="*/ 741935 w 1152749"/>
                <a:gd name="connsiteY57" fmla="*/ 20215 h 1473461"/>
                <a:gd name="connsiteX58" fmla="*/ 723206 w 1152749"/>
                <a:gd name="connsiteY58" fmla="*/ 19731 h 1473461"/>
                <a:gd name="connsiteX59" fmla="*/ 719757 w 1152749"/>
                <a:gd name="connsiteY59" fmla="*/ 32560 h 1473461"/>
                <a:gd name="connsiteX60" fmla="*/ 704478 w 1152749"/>
                <a:gd name="connsiteY60" fmla="*/ 39942 h 1473461"/>
                <a:gd name="connsiteX61" fmla="*/ 688715 w 1152749"/>
                <a:gd name="connsiteY61" fmla="*/ 39942 h 1473461"/>
                <a:gd name="connsiteX62" fmla="*/ 685265 w 1152749"/>
                <a:gd name="connsiteY62" fmla="*/ 57702 h 1473461"/>
                <a:gd name="connsiteX63" fmla="*/ 689713 w 1152749"/>
                <a:gd name="connsiteY63" fmla="*/ 90742 h 1473461"/>
                <a:gd name="connsiteX64" fmla="*/ 675402 w 1152749"/>
                <a:gd name="connsiteY64" fmla="*/ 90742 h 1473461"/>
                <a:gd name="connsiteX65" fmla="*/ 652226 w 1152749"/>
                <a:gd name="connsiteY65" fmla="*/ 70531 h 1473461"/>
                <a:gd name="connsiteX66" fmla="*/ 628082 w 1152749"/>
                <a:gd name="connsiteY66" fmla="*/ 85810 h 1473461"/>
                <a:gd name="connsiteX67" fmla="*/ 609353 w 1152749"/>
                <a:gd name="connsiteY67" fmla="*/ 79396 h 1473461"/>
                <a:gd name="connsiteX68" fmla="*/ 557586 w 1152749"/>
                <a:gd name="connsiteY68" fmla="*/ 99123 h 1473461"/>
                <a:gd name="connsiteX69" fmla="*/ 529992 w 1152749"/>
                <a:gd name="connsiteY69" fmla="*/ 106021 h 1473461"/>
                <a:gd name="connsiteX70" fmla="*/ 523578 w 1152749"/>
                <a:gd name="connsiteY70" fmla="*/ 126716 h 1473461"/>
                <a:gd name="connsiteX71" fmla="*/ 495985 w 1152749"/>
                <a:gd name="connsiteY71" fmla="*/ 111437 h 1473461"/>
                <a:gd name="connsiteX72" fmla="*/ 460495 w 1152749"/>
                <a:gd name="connsiteY72" fmla="*/ 127200 h 1473461"/>
                <a:gd name="connsiteX73" fmla="*/ 424006 w 1152749"/>
                <a:gd name="connsiteY73" fmla="*/ 132616 h 1473461"/>
                <a:gd name="connsiteX74" fmla="*/ 418076 w 1152749"/>
                <a:gd name="connsiteY74" fmla="*/ 152827 h 1473461"/>
                <a:gd name="connsiteX75" fmla="*/ 399347 w 1152749"/>
                <a:gd name="connsiteY75" fmla="*/ 154793 h 1473461"/>
                <a:gd name="connsiteX76" fmla="*/ 343646 w 1152749"/>
                <a:gd name="connsiteY76" fmla="*/ 160723 h 1473461"/>
                <a:gd name="connsiteX77" fmla="*/ 344130 w 1152749"/>
                <a:gd name="connsiteY77" fmla="*/ 183899 h 1473461"/>
                <a:gd name="connsiteX78" fmla="*/ 331816 w 1152749"/>
                <a:gd name="connsiteY78" fmla="*/ 199179 h 1473461"/>
                <a:gd name="connsiteX79" fmla="*/ 324918 w 1152749"/>
                <a:gd name="connsiteY79" fmla="*/ 186865 h 1473461"/>
                <a:gd name="connsiteX80" fmla="*/ 334297 w 1152749"/>
                <a:gd name="connsiteY80" fmla="*/ 170587 h 1473461"/>
                <a:gd name="connsiteX81" fmla="*/ 298323 w 1152749"/>
                <a:gd name="connsiteY81" fmla="*/ 169104 h 1473461"/>
                <a:gd name="connsiteX82" fmla="*/ 267765 w 1152749"/>
                <a:gd name="connsiteY82" fmla="*/ 173038 h 1473461"/>
                <a:gd name="connsiteX83" fmla="*/ 269731 w 1152749"/>
                <a:gd name="connsiteY83" fmla="*/ 190284 h 1473461"/>
                <a:gd name="connsiteX84" fmla="*/ 259384 w 1152749"/>
                <a:gd name="connsiteY84" fmla="*/ 194217 h 1473461"/>
                <a:gd name="connsiteX85" fmla="*/ 249036 w 1152749"/>
                <a:gd name="connsiteY85" fmla="*/ 177939 h 1473461"/>
                <a:gd name="connsiteX86" fmla="*/ 218962 w 1152749"/>
                <a:gd name="connsiteY86" fmla="*/ 174974 h 1473461"/>
                <a:gd name="connsiteX87" fmla="*/ 213546 w 1152749"/>
                <a:gd name="connsiteY87" fmla="*/ 183355 h 1473461"/>
                <a:gd name="connsiteX88" fmla="*/ 204167 w 1152749"/>
                <a:gd name="connsiteY88" fmla="*/ 184353 h 1473461"/>
                <a:gd name="connsiteX89" fmla="*/ 185922 w 1152749"/>
                <a:gd name="connsiteY89" fmla="*/ 159695 h 1473461"/>
                <a:gd name="connsiteX90" fmla="*/ 165227 w 1152749"/>
                <a:gd name="connsiteY90" fmla="*/ 174006 h 1473461"/>
                <a:gd name="connsiteX91" fmla="*/ 172610 w 1152749"/>
                <a:gd name="connsiteY91" fmla="*/ 188801 h 1473461"/>
                <a:gd name="connsiteX92" fmla="*/ 168677 w 1152749"/>
                <a:gd name="connsiteY92" fmla="*/ 193733 h 1473461"/>
                <a:gd name="connsiteX93" fmla="*/ 146983 w 1152749"/>
                <a:gd name="connsiteY93" fmla="*/ 186350 h 1473461"/>
                <a:gd name="connsiteX94" fmla="*/ 130221 w 1152749"/>
                <a:gd name="connsiteY94" fmla="*/ 203596 h 1473461"/>
                <a:gd name="connsiteX95" fmla="*/ 155364 w 1152749"/>
                <a:gd name="connsiteY95" fmla="*/ 209012 h 1473461"/>
                <a:gd name="connsiteX96" fmla="*/ 164743 w 1152749"/>
                <a:gd name="connsiteY96" fmla="*/ 223323 h 1473461"/>
                <a:gd name="connsiteX97" fmla="*/ 142051 w 1152749"/>
                <a:gd name="connsiteY97" fmla="*/ 245500 h 1473461"/>
                <a:gd name="connsiteX98" fmla="*/ 125774 w 1152749"/>
                <a:gd name="connsiteY98" fmla="*/ 250432 h 1473461"/>
                <a:gd name="connsiteX99" fmla="*/ 118391 w 1152749"/>
                <a:gd name="connsiteY99" fmla="*/ 264229 h 1473461"/>
                <a:gd name="connsiteX100" fmla="*/ 148950 w 1152749"/>
                <a:gd name="connsiteY100" fmla="*/ 267194 h 1473461"/>
                <a:gd name="connsiteX101" fmla="*/ 167678 w 1152749"/>
                <a:gd name="connsiteY101" fmla="*/ 278540 h 1473461"/>
                <a:gd name="connsiteX102" fmla="*/ 200717 w 1152749"/>
                <a:gd name="connsiteY102" fmla="*/ 268192 h 1473461"/>
                <a:gd name="connsiteX103" fmla="*/ 211065 w 1152749"/>
                <a:gd name="connsiteY103" fmla="*/ 284954 h 1473461"/>
                <a:gd name="connsiteX104" fmla="*/ 190854 w 1152749"/>
                <a:gd name="connsiteY104" fmla="*/ 299749 h 1473461"/>
                <a:gd name="connsiteX105" fmla="*/ 168162 w 1152749"/>
                <a:gd name="connsiteY105" fmla="*/ 293819 h 1473461"/>
                <a:gd name="connsiteX106" fmla="*/ 152883 w 1152749"/>
                <a:gd name="connsiteY106" fmla="*/ 329793 h 1473461"/>
                <a:gd name="connsiteX107" fmla="*/ 170643 w 1152749"/>
                <a:gd name="connsiteY107" fmla="*/ 341623 h 1473461"/>
                <a:gd name="connsiteX108" fmla="*/ 187405 w 1152749"/>
                <a:gd name="connsiteY108" fmla="*/ 343590 h 1473461"/>
                <a:gd name="connsiteX109" fmla="*/ 206133 w 1152749"/>
                <a:gd name="connsiteY109" fmla="*/ 355904 h 1473461"/>
                <a:gd name="connsiteX110" fmla="*/ 227827 w 1152749"/>
                <a:gd name="connsiteY110" fmla="*/ 343590 h 1473461"/>
                <a:gd name="connsiteX111" fmla="*/ 238658 w 1152749"/>
                <a:gd name="connsiteY111" fmla="*/ 359353 h 1473461"/>
                <a:gd name="connsiteX112" fmla="*/ 265768 w 1152749"/>
                <a:gd name="connsiteY112" fmla="*/ 369217 h 1473461"/>
                <a:gd name="connsiteX113" fmla="*/ 285978 w 1152749"/>
                <a:gd name="connsiteY113" fmla="*/ 376599 h 1473461"/>
                <a:gd name="connsiteX114" fmla="*/ 286463 w 1152749"/>
                <a:gd name="connsiteY114" fmla="*/ 402226 h 1473461"/>
                <a:gd name="connsiteX115" fmla="*/ 267734 w 1152749"/>
                <a:gd name="connsiteY115" fmla="*/ 413058 h 1473461"/>
                <a:gd name="connsiteX116" fmla="*/ 258869 w 1152749"/>
                <a:gd name="connsiteY116" fmla="*/ 404193 h 1473461"/>
                <a:gd name="connsiteX117" fmla="*/ 236177 w 1152749"/>
                <a:gd name="connsiteY117" fmla="*/ 402710 h 1473461"/>
                <a:gd name="connsiteX118" fmla="*/ 219900 w 1152749"/>
                <a:gd name="connsiteY118" fmla="*/ 413058 h 1473461"/>
                <a:gd name="connsiteX119" fmla="*/ 200687 w 1152749"/>
                <a:gd name="connsiteY119" fmla="*/ 396296 h 1473461"/>
                <a:gd name="connsiteX120" fmla="*/ 187375 w 1152749"/>
                <a:gd name="connsiteY120" fmla="*/ 401228 h 1473461"/>
                <a:gd name="connsiteX121" fmla="*/ 177027 w 1152749"/>
                <a:gd name="connsiteY121" fmla="*/ 396296 h 1473461"/>
                <a:gd name="connsiteX122" fmla="*/ 167648 w 1152749"/>
                <a:gd name="connsiteY122" fmla="*/ 393845 h 1473461"/>
                <a:gd name="connsiteX123" fmla="*/ 111947 w 1152749"/>
                <a:gd name="connsiteY123" fmla="*/ 452511 h 1473461"/>
                <a:gd name="connsiteX124" fmla="*/ 95669 w 1152749"/>
                <a:gd name="connsiteY124" fmla="*/ 455960 h 1473461"/>
                <a:gd name="connsiteX125" fmla="*/ 95669 w 1152749"/>
                <a:gd name="connsiteY125" fmla="*/ 483070 h 1473461"/>
                <a:gd name="connsiteX126" fmla="*/ 105533 w 1152749"/>
                <a:gd name="connsiteY126" fmla="*/ 489484 h 1473461"/>
                <a:gd name="connsiteX127" fmla="*/ 112915 w 1152749"/>
                <a:gd name="connsiteY127" fmla="*/ 511177 h 1473461"/>
                <a:gd name="connsiteX128" fmla="*/ 129193 w 1152749"/>
                <a:gd name="connsiteY128" fmla="*/ 515625 h 1473461"/>
                <a:gd name="connsiteX129" fmla="*/ 144472 w 1152749"/>
                <a:gd name="connsiteY129" fmla="*/ 547666 h 1473461"/>
                <a:gd name="connsiteX130" fmla="*/ 99118 w 1152749"/>
                <a:gd name="connsiteY130" fmla="*/ 593504 h 1473461"/>
                <a:gd name="connsiteX131" fmla="*/ 68045 w 1152749"/>
                <a:gd name="connsiteY131" fmla="*/ 593988 h 1473461"/>
                <a:gd name="connsiteX132" fmla="*/ 26625 w 1152749"/>
                <a:gd name="connsiteY132" fmla="*/ 629478 h 1473461"/>
                <a:gd name="connsiteX133" fmla="*/ 0 w 1152749"/>
                <a:gd name="connsiteY133" fmla="*/ 630476 h 1473461"/>
                <a:gd name="connsiteX134" fmla="*/ 6898 w 1152749"/>
                <a:gd name="connsiteY134" fmla="*/ 657586 h 1473461"/>
                <a:gd name="connsiteX135" fmla="*/ 23660 w 1152749"/>
                <a:gd name="connsiteY135" fmla="*/ 656587 h 1473461"/>
                <a:gd name="connsiteX136" fmla="*/ 62599 w 1152749"/>
                <a:gd name="connsiteY136" fmla="*/ 676314 h 1473461"/>
                <a:gd name="connsiteX137" fmla="*/ 44839 w 1152749"/>
                <a:gd name="connsiteY137" fmla="*/ 696041 h 1473461"/>
                <a:gd name="connsiteX138" fmla="*/ 67531 w 1152749"/>
                <a:gd name="connsiteY138" fmla="*/ 713801 h 1473461"/>
                <a:gd name="connsiteX139" fmla="*/ 124231 w 1152749"/>
                <a:gd name="connsiteY139" fmla="*/ 713317 h 1473461"/>
                <a:gd name="connsiteX140" fmla="*/ 137059 w 1152749"/>
                <a:gd name="connsiteY140" fmla="*/ 750290 h 1473461"/>
                <a:gd name="connsiteX141" fmla="*/ 201655 w 1152749"/>
                <a:gd name="connsiteY141" fmla="*/ 759669 h 1473461"/>
                <a:gd name="connsiteX142" fmla="*/ 220686 w 1152749"/>
                <a:gd name="connsiteY142" fmla="*/ 779547 h 1473461"/>
                <a:gd name="connsiteX143" fmla="*/ 250458 w 1152749"/>
                <a:gd name="connsiteY143" fmla="*/ 777187 h 1473461"/>
                <a:gd name="connsiteX144" fmla="*/ 252667 w 1152749"/>
                <a:gd name="connsiteY144" fmla="*/ 806021 h 1473461"/>
                <a:gd name="connsiteX145" fmla="*/ 265223 w 1152749"/>
                <a:gd name="connsiteY145" fmla="*/ 820816 h 1473461"/>
                <a:gd name="connsiteX146" fmla="*/ 285918 w 1152749"/>
                <a:gd name="connsiteY146" fmla="*/ 798639 h 1473461"/>
                <a:gd name="connsiteX147" fmla="*/ 303678 w 1152749"/>
                <a:gd name="connsiteY147" fmla="*/ 813434 h 1473461"/>
                <a:gd name="connsiteX148" fmla="*/ 292574 w 1152749"/>
                <a:gd name="connsiteY148" fmla="*/ 840785 h 1473461"/>
                <a:gd name="connsiteX149" fmla="*/ 337686 w 1152749"/>
                <a:gd name="connsiteY149" fmla="*/ 873310 h 1473461"/>
                <a:gd name="connsiteX150" fmla="*/ 300713 w 1152749"/>
                <a:gd name="connsiteY150" fmla="*/ 877001 h 1473461"/>
                <a:gd name="connsiteX151" fmla="*/ 297748 w 1152749"/>
                <a:gd name="connsiteY151" fmla="*/ 902870 h 1473461"/>
                <a:gd name="connsiteX152" fmla="*/ 311061 w 1152749"/>
                <a:gd name="connsiteY152" fmla="*/ 911009 h 1473461"/>
                <a:gd name="connsiteX153" fmla="*/ 328821 w 1152749"/>
                <a:gd name="connsiteY153" fmla="*/ 904353 h 1473461"/>
                <a:gd name="connsiteX154" fmla="*/ 344342 w 1152749"/>
                <a:gd name="connsiteY154" fmla="*/ 942808 h 1473461"/>
                <a:gd name="connsiteX155" fmla="*/ 406458 w 1152749"/>
                <a:gd name="connsiteY155" fmla="*/ 1042652 h 1473461"/>
                <a:gd name="connsiteX156" fmla="*/ 402010 w 1152749"/>
                <a:gd name="connsiteY156" fmla="*/ 1082590 h 1473461"/>
                <a:gd name="connsiteX157" fmla="*/ 381315 w 1152749"/>
                <a:gd name="connsiteY157" fmla="*/ 1075934 h 1473461"/>
                <a:gd name="connsiteX158" fmla="*/ 345825 w 1152749"/>
                <a:gd name="connsiteY158" fmla="*/ 1135084 h 1473461"/>
                <a:gd name="connsiteX159" fmla="*/ 345825 w 1152749"/>
                <a:gd name="connsiteY159" fmla="*/ 1166157 h 1473461"/>
                <a:gd name="connsiteX160" fmla="*/ 331030 w 1152749"/>
                <a:gd name="connsiteY160" fmla="*/ 1179469 h 1473461"/>
                <a:gd name="connsiteX161" fmla="*/ 349516 w 1152749"/>
                <a:gd name="connsiteY161" fmla="*/ 1221616 h 1473461"/>
                <a:gd name="connsiteX162" fmla="*/ 326582 w 1152749"/>
                <a:gd name="connsiteY162" fmla="*/ 1243793 h 1473461"/>
                <a:gd name="connsiteX163" fmla="*/ 356172 w 1152749"/>
                <a:gd name="connsiteY163" fmla="*/ 1268936 h 1473461"/>
                <a:gd name="connsiteX164" fmla="*/ 366520 w 1152749"/>
                <a:gd name="connsiteY164" fmla="*/ 1294805 h 1473461"/>
                <a:gd name="connsiteX165" fmla="*/ 409423 w 1152749"/>
                <a:gd name="connsiteY165" fmla="*/ 1330295 h 1473461"/>
                <a:gd name="connsiteX166" fmla="*/ 419770 w 1152749"/>
                <a:gd name="connsiteY166" fmla="*/ 1320674 h 1473461"/>
                <a:gd name="connsiteX167" fmla="*/ 439739 w 1152749"/>
                <a:gd name="connsiteY167" fmla="*/ 1333230 h 1473461"/>
                <a:gd name="connsiteX168" fmla="*/ 439013 w 1152749"/>
                <a:gd name="connsiteY168" fmla="*/ 1358372 h 1473461"/>
                <a:gd name="connsiteX169" fmla="*/ 544757 w 1152749"/>
                <a:gd name="connsiteY169" fmla="*/ 1418279 h 1473461"/>
                <a:gd name="connsiteX170" fmla="*/ 585572 w 1152749"/>
                <a:gd name="connsiteY170" fmla="*/ 1475735 h 1473461"/>
                <a:gd name="connsiteX171" fmla="*/ 623876 w 1152749"/>
                <a:gd name="connsiteY171" fmla="*/ 1453043 h 1473461"/>
                <a:gd name="connsiteX172" fmla="*/ 623876 w 1152749"/>
                <a:gd name="connsiteY172" fmla="*/ 1404997 h 1473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1152749" h="1473461">
                  <a:moveTo>
                    <a:pt x="623907" y="1404997"/>
                  </a:moveTo>
                  <a:lnTo>
                    <a:pt x="651258" y="1402788"/>
                  </a:lnTo>
                  <a:lnTo>
                    <a:pt x="649049" y="1345846"/>
                  </a:lnTo>
                  <a:lnTo>
                    <a:pt x="685296" y="1345120"/>
                  </a:lnTo>
                  <a:lnTo>
                    <a:pt x="694917" y="1300765"/>
                  </a:lnTo>
                  <a:lnTo>
                    <a:pt x="811009" y="1317043"/>
                  </a:lnTo>
                  <a:lnTo>
                    <a:pt x="855364" y="1279344"/>
                  </a:lnTo>
                  <a:lnTo>
                    <a:pt x="887163" y="1287483"/>
                  </a:lnTo>
                  <a:lnTo>
                    <a:pt x="927101" y="1226850"/>
                  </a:lnTo>
                  <a:lnTo>
                    <a:pt x="952970" y="1209090"/>
                  </a:lnTo>
                  <a:lnTo>
                    <a:pt x="967008" y="1157322"/>
                  </a:lnTo>
                  <a:lnTo>
                    <a:pt x="998081" y="1133662"/>
                  </a:lnTo>
                  <a:lnTo>
                    <a:pt x="1060196" y="1027918"/>
                  </a:lnTo>
                  <a:lnTo>
                    <a:pt x="1083857" y="1013879"/>
                  </a:lnTo>
                  <a:lnTo>
                    <a:pt x="1086065" y="976906"/>
                  </a:lnTo>
                  <a:lnTo>
                    <a:pt x="1137833" y="959902"/>
                  </a:lnTo>
                  <a:lnTo>
                    <a:pt x="1154111" y="911100"/>
                  </a:lnTo>
                  <a:lnTo>
                    <a:pt x="1125277" y="896304"/>
                  </a:lnTo>
                  <a:lnTo>
                    <a:pt x="1108999" y="919965"/>
                  </a:lnTo>
                  <a:lnTo>
                    <a:pt x="1079409" y="921447"/>
                  </a:lnTo>
                  <a:lnTo>
                    <a:pt x="1001016" y="950281"/>
                  </a:lnTo>
                  <a:lnTo>
                    <a:pt x="978082" y="941416"/>
                  </a:lnTo>
                  <a:lnTo>
                    <a:pt x="993603" y="914791"/>
                  </a:lnTo>
                  <a:lnTo>
                    <a:pt x="984738" y="880027"/>
                  </a:lnTo>
                  <a:lnTo>
                    <a:pt x="954422" y="894822"/>
                  </a:lnTo>
                  <a:lnTo>
                    <a:pt x="890824" y="877062"/>
                  </a:lnTo>
                  <a:lnTo>
                    <a:pt x="876029" y="854884"/>
                  </a:lnTo>
                  <a:lnTo>
                    <a:pt x="831674" y="829015"/>
                  </a:lnTo>
                  <a:lnTo>
                    <a:pt x="805049" y="865988"/>
                  </a:lnTo>
                  <a:lnTo>
                    <a:pt x="782871" y="865988"/>
                  </a:lnTo>
                  <a:lnTo>
                    <a:pt x="771041" y="805355"/>
                  </a:lnTo>
                  <a:lnTo>
                    <a:pt x="745172" y="780939"/>
                  </a:lnTo>
                  <a:lnTo>
                    <a:pt x="771797" y="673712"/>
                  </a:lnTo>
                  <a:lnTo>
                    <a:pt x="744446" y="662608"/>
                  </a:lnTo>
                  <a:lnTo>
                    <a:pt x="749620" y="646330"/>
                  </a:lnTo>
                  <a:lnTo>
                    <a:pt x="788075" y="635227"/>
                  </a:lnTo>
                  <a:lnTo>
                    <a:pt x="794731" y="593806"/>
                  </a:lnTo>
                  <a:lnTo>
                    <a:pt x="822083" y="557560"/>
                  </a:lnTo>
                  <a:lnTo>
                    <a:pt x="832430" y="408186"/>
                  </a:lnTo>
                  <a:lnTo>
                    <a:pt x="858299" y="385252"/>
                  </a:lnTo>
                  <a:lnTo>
                    <a:pt x="856816" y="368249"/>
                  </a:lnTo>
                  <a:lnTo>
                    <a:pt x="825017" y="371940"/>
                  </a:lnTo>
                  <a:lnTo>
                    <a:pt x="844230" y="334241"/>
                  </a:lnTo>
                  <a:lnTo>
                    <a:pt x="836091" y="297268"/>
                  </a:lnTo>
                  <a:lnTo>
                    <a:pt x="839782" y="258813"/>
                  </a:lnTo>
                  <a:lnTo>
                    <a:pt x="815366" y="256604"/>
                  </a:lnTo>
                  <a:lnTo>
                    <a:pt x="796879" y="161208"/>
                  </a:lnTo>
                  <a:lnTo>
                    <a:pt x="810192" y="136791"/>
                  </a:lnTo>
                  <a:lnTo>
                    <a:pt x="838300" y="136065"/>
                  </a:lnTo>
                  <a:lnTo>
                    <a:pt x="828678" y="105749"/>
                  </a:lnTo>
                  <a:lnTo>
                    <a:pt x="803536" y="94645"/>
                  </a:lnTo>
                  <a:lnTo>
                    <a:pt x="814640" y="76158"/>
                  </a:lnTo>
                  <a:lnTo>
                    <a:pt x="797968" y="14830"/>
                  </a:lnTo>
                  <a:lnTo>
                    <a:pt x="786290" y="19217"/>
                  </a:lnTo>
                  <a:cubicBezTo>
                    <a:pt x="788862" y="13408"/>
                    <a:pt x="788287" y="7145"/>
                    <a:pt x="784807" y="3453"/>
                  </a:cubicBezTo>
                  <a:cubicBezTo>
                    <a:pt x="779936" y="-1751"/>
                    <a:pt x="770527" y="-510"/>
                    <a:pt x="765595" y="3453"/>
                  </a:cubicBezTo>
                  <a:cubicBezTo>
                    <a:pt x="757486" y="9958"/>
                    <a:pt x="761722" y="23483"/>
                    <a:pt x="755731" y="25631"/>
                  </a:cubicBezTo>
                  <a:cubicBezTo>
                    <a:pt x="752555" y="26781"/>
                    <a:pt x="750830" y="23150"/>
                    <a:pt x="741935" y="20215"/>
                  </a:cubicBezTo>
                  <a:cubicBezTo>
                    <a:pt x="737760" y="18823"/>
                    <a:pt x="727624" y="15495"/>
                    <a:pt x="723206" y="19731"/>
                  </a:cubicBezTo>
                  <a:cubicBezTo>
                    <a:pt x="719848" y="22968"/>
                    <a:pt x="723297" y="27234"/>
                    <a:pt x="719757" y="32560"/>
                  </a:cubicBezTo>
                  <a:cubicBezTo>
                    <a:pt x="715824" y="38490"/>
                    <a:pt x="707292" y="39579"/>
                    <a:pt x="704478" y="39942"/>
                  </a:cubicBezTo>
                  <a:cubicBezTo>
                    <a:pt x="695734" y="41061"/>
                    <a:pt x="692376" y="37521"/>
                    <a:pt x="688715" y="39942"/>
                  </a:cubicBezTo>
                  <a:cubicBezTo>
                    <a:pt x="684449" y="42756"/>
                    <a:pt x="684812" y="50259"/>
                    <a:pt x="685265" y="57702"/>
                  </a:cubicBezTo>
                  <a:cubicBezTo>
                    <a:pt x="686445" y="77369"/>
                    <a:pt x="693798" y="86385"/>
                    <a:pt x="689713" y="90742"/>
                  </a:cubicBezTo>
                  <a:cubicBezTo>
                    <a:pt x="686052" y="94645"/>
                    <a:pt x="676642" y="91195"/>
                    <a:pt x="675402" y="90742"/>
                  </a:cubicBezTo>
                  <a:cubicBezTo>
                    <a:pt x="661333" y="85598"/>
                    <a:pt x="660849" y="71257"/>
                    <a:pt x="652226" y="70531"/>
                  </a:cubicBezTo>
                  <a:cubicBezTo>
                    <a:pt x="643482" y="69805"/>
                    <a:pt x="640638" y="84267"/>
                    <a:pt x="628082" y="85810"/>
                  </a:cubicBezTo>
                  <a:cubicBezTo>
                    <a:pt x="620125" y="86778"/>
                    <a:pt x="618793" y="81272"/>
                    <a:pt x="609353" y="79396"/>
                  </a:cubicBezTo>
                  <a:cubicBezTo>
                    <a:pt x="591533" y="75856"/>
                    <a:pt x="585754" y="93344"/>
                    <a:pt x="557586" y="99123"/>
                  </a:cubicBezTo>
                  <a:cubicBezTo>
                    <a:pt x="543033" y="102118"/>
                    <a:pt x="535408" y="99304"/>
                    <a:pt x="529992" y="106021"/>
                  </a:cubicBezTo>
                  <a:cubicBezTo>
                    <a:pt x="523699" y="113797"/>
                    <a:pt x="528358" y="124416"/>
                    <a:pt x="523578" y="126716"/>
                  </a:cubicBezTo>
                  <a:cubicBezTo>
                    <a:pt x="517648" y="129590"/>
                    <a:pt x="510538" y="113161"/>
                    <a:pt x="495985" y="111437"/>
                  </a:cubicBezTo>
                  <a:cubicBezTo>
                    <a:pt x="483005" y="109894"/>
                    <a:pt x="480766" y="121996"/>
                    <a:pt x="460495" y="127200"/>
                  </a:cubicBezTo>
                  <a:cubicBezTo>
                    <a:pt x="441433" y="132101"/>
                    <a:pt x="430208" y="124779"/>
                    <a:pt x="424006" y="132616"/>
                  </a:cubicBezTo>
                  <a:cubicBezTo>
                    <a:pt x="418862" y="139121"/>
                    <a:pt x="423945" y="147411"/>
                    <a:pt x="418076" y="152827"/>
                  </a:cubicBezTo>
                  <a:cubicBezTo>
                    <a:pt x="413537" y="157032"/>
                    <a:pt x="406548" y="155701"/>
                    <a:pt x="399347" y="154793"/>
                  </a:cubicBezTo>
                  <a:cubicBezTo>
                    <a:pt x="389938" y="153613"/>
                    <a:pt x="350545" y="148712"/>
                    <a:pt x="343646" y="160723"/>
                  </a:cubicBezTo>
                  <a:cubicBezTo>
                    <a:pt x="340258" y="166623"/>
                    <a:pt x="347549" y="171616"/>
                    <a:pt x="344130" y="183899"/>
                  </a:cubicBezTo>
                  <a:cubicBezTo>
                    <a:pt x="342103" y="191252"/>
                    <a:pt x="336597" y="199814"/>
                    <a:pt x="331816" y="199179"/>
                  </a:cubicBezTo>
                  <a:cubicBezTo>
                    <a:pt x="328004" y="198695"/>
                    <a:pt x="324615" y="192401"/>
                    <a:pt x="324918" y="186865"/>
                  </a:cubicBezTo>
                  <a:cubicBezTo>
                    <a:pt x="325402" y="177788"/>
                    <a:pt x="335507" y="174308"/>
                    <a:pt x="334297" y="170587"/>
                  </a:cubicBezTo>
                  <a:cubicBezTo>
                    <a:pt x="333027" y="166714"/>
                    <a:pt x="321499" y="168772"/>
                    <a:pt x="298323" y="169104"/>
                  </a:cubicBezTo>
                  <a:cubicBezTo>
                    <a:pt x="279020" y="169407"/>
                    <a:pt x="270094" y="168227"/>
                    <a:pt x="267765" y="173038"/>
                  </a:cubicBezTo>
                  <a:cubicBezTo>
                    <a:pt x="265253" y="178211"/>
                    <a:pt x="273059" y="184626"/>
                    <a:pt x="269731" y="190284"/>
                  </a:cubicBezTo>
                  <a:cubicBezTo>
                    <a:pt x="267825" y="193521"/>
                    <a:pt x="262954" y="195336"/>
                    <a:pt x="259384" y="194217"/>
                  </a:cubicBezTo>
                  <a:cubicBezTo>
                    <a:pt x="253635" y="192432"/>
                    <a:pt x="255481" y="184444"/>
                    <a:pt x="249036" y="177939"/>
                  </a:cubicBezTo>
                  <a:cubicBezTo>
                    <a:pt x="240897" y="169770"/>
                    <a:pt x="224408" y="168862"/>
                    <a:pt x="218962" y="174974"/>
                  </a:cubicBezTo>
                  <a:cubicBezTo>
                    <a:pt x="216481" y="177758"/>
                    <a:pt x="217086" y="181086"/>
                    <a:pt x="213546" y="183355"/>
                  </a:cubicBezTo>
                  <a:cubicBezTo>
                    <a:pt x="209613" y="185866"/>
                    <a:pt x="204621" y="184474"/>
                    <a:pt x="204167" y="184353"/>
                  </a:cubicBezTo>
                  <a:cubicBezTo>
                    <a:pt x="193093" y="181116"/>
                    <a:pt x="195392" y="162841"/>
                    <a:pt x="185922" y="159695"/>
                  </a:cubicBezTo>
                  <a:cubicBezTo>
                    <a:pt x="177844" y="157002"/>
                    <a:pt x="165016" y="166684"/>
                    <a:pt x="165227" y="174006"/>
                  </a:cubicBezTo>
                  <a:cubicBezTo>
                    <a:pt x="165379" y="179845"/>
                    <a:pt x="173850" y="182992"/>
                    <a:pt x="172610" y="188801"/>
                  </a:cubicBezTo>
                  <a:cubicBezTo>
                    <a:pt x="172186" y="190828"/>
                    <a:pt x="170613" y="192825"/>
                    <a:pt x="168677" y="193733"/>
                  </a:cubicBezTo>
                  <a:cubicBezTo>
                    <a:pt x="162353" y="196637"/>
                    <a:pt x="156272" y="185987"/>
                    <a:pt x="146983" y="186350"/>
                  </a:cubicBezTo>
                  <a:cubicBezTo>
                    <a:pt x="137180" y="186713"/>
                    <a:pt x="128073" y="199179"/>
                    <a:pt x="130221" y="203596"/>
                  </a:cubicBezTo>
                  <a:cubicBezTo>
                    <a:pt x="132369" y="208013"/>
                    <a:pt x="144260" y="201629"/>
                    <a:pt x="155364" y="209012"/>
                  </a:cubicBezTo>
                  <a:cubicBezTo>
                    <a:pt x="156332" y="209647"/>
                    <a:pt x="164622" y="215335"/>
                    <a:pt x="164743" y="223323"/>
                  </a:cubicBezTo>
                  <a:cubicBezTo>
                    <a:pt x="164895" y="233338"/>
                    <a:pt x="152126" y="242324"/>
                    <a:pt x="142051" y="245500"/>
                  </a:cubicBezTo>
                  <a:cubicBezTo>
                    <a:pt x="134851" y="247770"/>
                    <a:pt x="131129" y="246408"/>
                    <a:pt x="125774" y="250432"/>
                  </a:cubicBezTo>
                  <a:cubicBezTo>
                    <a:pt x="121054" y="254002"/>
                    <a:pt x="116485" y="260780"/>
                    <a:pt x="118391" y="264229"/>
                  </a:cubicBezTo>
                  <a:cubicBezTo>
                    <a:pt x="121084" y="269130"/>
                    <a:pt x="133398" y="261445"/>
                    <a:pt x="148950" y="267194"/>
                  </a:cubicBezTo>
                  <a:cubicBezTo>
                    <a:pt x="159993" y="271278"/>
                    <a:pt x="159267" y="277178"/>
                    <a:pt x="167678" y="278540"/>
                  </a:cubicBezTo>
                  <a:cubicBezTo>
                    <a:pt x="182050" y="280870"/>
                    <a:pt x="189644" y="264592"/>
                    <a:pt x="200717" y="268192"/>
                  </a:cubicBezTo>
                  <a:cubicBezTo>
                    <a:pt x="207253" y="270310"/>
                    <a:pt x="211942" y="278389"/>
                    <a:pt x="211065" y="284954"/>
                  </a:cubicBezTo>
                  <a:cubicBezTo>
                    <a:pt x="209915" y="293638"/>
                    <a:pt x="199205" y="299144"/>
                    <a:pt x="190854" y="299749"/>
                  </a:cubicBezTo>
                  <a:cubicBezTo>
                    <a:pt x="179599" y="300536"/>
                    <a:pt x="176271" y="292125"/>
                    <a:pt x="168162" y="293819"/>
                  </a:cubicBezTo>
                  <a:cubicBezTo>
                    <a:pt x="156604" y="296270"/>
                    <a:pt x="146075" y="317146"/>
                    <a:pt x="152883" y="329793"/>
                  </a:cubicBezTo>
                  <a:cubicBezTo>
                    <a:pt x="157179" y="337811"/>
                    <a:pt x="167436" y="340716"/>
                    <a:pt x="170643" y="341623"/>
                  </a:cubicBezTo>
                  <a:cubicBezTo>
                    <a:pt x="178722" y="343923"/>
                    <a:pt x="180325" y="341230"/>
                    <a:pt x="187405" y="343590"/>
                  </a:cubicBezTo>
                  <a:cubicBezTo>
                    <a:pt x="198569" y="347312"/>
                    <a:pt x="198963" y="355481"/>
                    <a:pt x="206133" y="355904"/>
                  </a:cubicBezTo>
                  <a:cubicBezTo>
                    <a:pt x="215876" y="356509"/>
                    <a:pt x="220565" y="341865"/>
                    <a:pt x="227827" y="343590"/>
                  </a:cubicBezTo>
                  <a:cubicBezTo>
                    <a:pt x="232970" y="344800"/>
                    <a:pt x="231306" y="352304"/>
                    <a:pt x="238658" y="359353"/>
                  </a:cubicBezTo>
                  <a:cubicBezTo>
                    <a:pt x="241079" y="361653"/>
                    <a:pt x="243711" y="363256"/>
                    <a:pt x="265768" y="369217"/>
                  </a:cubicBezTo>
                  <a:cubicBezTo>
                    <a:pt x="281047" y="373362"/>
                    <a:pt x="283407" y="373574"/>
                    <a:pt x="285978" y="376599"/>
                  </a:cubicBezTo>
                  <a:cubicBezTo>
                    <a:pt x="291515" y="383074"/>
                    <a:pt x="291213" y="394390"/>
                    <a:pt x="286463" y="402226"/>
                  </a:cubicBezTo>
                  <a:cubicBezTo>
                    <a:pt x="282439" y="408852"/>
                    <a:pt x="274028" y="415054"/>
                    <a:pt x="267734" y="413058"/>
                  </a:cubicBezTo>
                  <a:cubicBezTo>
                    <a:pt x="263438" y="411696"/>
                    <a:pt x="264164" y="407793"/>
                    <a:pt x="258869" y="404193"/>
                  </a:cubicBezTo>
                  <a:cubicBezTo>
                    <a:pt x="249702" y="397960"/>
                    <a:pt x="236843" y="402468"/>
                    <a:pt x="236177" y="402710"/>
                  </a:cubicBezTo>
                  <a:cubicBezTo>
                    <a:pt x="226102" y="406401"/>
                    <a:pt x="225588" y="413421"/>
                    <a:pt x="219900" y="413058"/>
                  </a:cubicBezTo>
                  <a:cubicBezTo>
                    <a:pt x="211398" y="412513"/>
                    <a:pt x="209431" y="396538"/>
                    <a:pt x="200687" y="396296"/>
                  </a:cubicBezTo>
                  <a:cubicBezTo>
                    <a:pt x="195362" y="396144"/>
                    <a:pt x="193638" y="402014"/>
                    <a:pt x="187375" y="401228"/>
                  </a:cubicBezTo>
                  <a:cubicBezTo>
                    <a:pt x="183804" y="400774"/>
                    <a:pt x="182897" y="398686"/>
                    <a:pt x="177027" y="396296"/>
                  </a:cubicBezTo>
                  <a:cubicBezTo>
                    <a:pt x="173185" y="394753"/>
                    <a:pt x="169826" y="394117"/>
                    <a:pt x="167648" y="393845"/>
                  </a:cubicBezTo>
                  <a:lnTo>
                    <a:pt x="111947" y="452511"/>
                  </a:lnTo>
                  <a:cubicBezTo>
                    <a:pt x="110585" y="452239"/>
                    <a:pt x="101781" y="450514"/>
                    <a:pt x="95669" y="455960"/>
                  </a:cubicBezTo>
                  <a:cubicBezTo>
                    <a:pt x="87924" y="462889"/>
                    <a:pt x="89860" y="476625"/>
                    <a:pt x="95669" y="483070"/>
                  </a:cubicBezTo>
                  <a:cubicBezTo>
                    <a:pt x="99270" y="487094"/>
                    <a:pt x="101781" y="485369"/>
                    <a:pt x="105533" y="489484"/>
                  </a:cubicBezTo>
                  <a:cubicBezTo>
                    <a:pt x="112219" y="496806"/>
                    <a:pt x="107166" y="505338"/>
                    <a:pt x="112915" y="511177"/>
                  </a:cubicBezTo>
                  <a:cubicBezTo>
                    <a:pt x="117423" y="515746"/>
                    <a:pt x="122718" y="512751"/>
                    <a:pt x="129193" y="515625"/>
                  </a:cubicBezTo>
                  <a:cubicBezTo>
                    <a:pt x="135002" y="518197"/>
                    <a:pt x="141840" y="525579"/>
                    <a:pt x="144472" y="547666"/>
                  </a:cubicBezTo>
                  <a:lnTo>
                    <a:pt x="99118" y="593504"/>
                  </a:lnTo>
                  <a:lnTo>
                    <a:pt x="68045" y="593988"/>
                  </a:lnTo>
                  <a:lnTo>
                    <a:pt x="26625" y="629478"/>
                  </a:lnTo>
                  <a:lnTo>
                    <a:pt x="0" y="630476"/>
                  </a:lnTo>
                  <a:lnTo>
                    <a:pt x="6898" y="657586"/>
                  </a:lnTo>
                  <a:lnTo>
                    <a:pt x="23660" y="656587"/>
                  </a:lnTo>
                  <a:lnTo>
                    <a:pt x="62599" y="676314"/>
                  </a:lnTo>
                  <a:lnTo>
                    <a:pt x="44839" y="696041"/>
                  </a:lnTo>
                  <a:lnTo>
                    <a:pt x="67531" y="713801"/>
                  </a:lnTo>
                  <a:lnTo>
                    <a:pt x="124231" y="713317"/>
                  </a:lnTo>
                  <a:lnTo>
                    <a:pt x="137059" y="750290"/>
                  </a:lnTo>
                  <a:lnTo>
                    <a:pt x="201655" y="759669"/>
                  </a:lnTo>
                  <a:lnTo>
                    <a:pt x="220686" y="779547"/>
                  </a:lnTo>
                  <a:lnTo>
                    <a:pt x="250458" y="777187"/>
                  </a:lnTo>
                  <a:lnTo>
                    <a:pt x="252667" y="806021"/>
                  </a:lnTo>
                  <a:lnTo>
                    <a:pt x="265223" y="820816"/>
                  </a:lnTo>
                  <a:lnTo>
                    <a:pt x="285918" y="798639"/>
                  </a:lnTo>
                  <a:lnTo>
                    <a:pt x="303678" y="813434"/>
                  </a:lnTo>
                  <a:lnTo>
                    <a:pt x="292574" y="840785"/>
                  </a:lnTo>
                  <a:lnTo>
                    <a:pt x="337686" y="873310"/>
                  </a:lnTo>
                  <a:lnTo>
                    <a:pt x="300713" y="877001"/>
                  </a:lnTo>
                  <a:lnTo>
                    <a:pt x="297748" y="902870"/>
                  </a:lnTo>
                  <a:lnTo>
                    <a:pt x="311061" y="911009"/>
                  </a:lnTo>
                  <a:lnTo>
                    <a:pt x="328821" y="904353"/>
                  </a:lnTo>
                  <a:lnTo>
                    <a:pt x="344342" y="942808"/>
                  </a:lnTo>
                  <a:lnTo>
                    <a:pt x="406458" y="1042652"/>
                  </a:lnTo>
                  <a:lnTo>
                    <a:pt x="402010" y="1082590"/>
                  </a:lnTo>
                  <a:lnTo>
                    <a:pt x="381315" y="1075934"/>
                  </a:lnTo>
                  <a:lnTo>
                    <a:pt x="345825" y="1135084"/>
                  </a:lnTo>
                  <a:lnTo>
                    <a:pt x="345825" y="1166157"/>
                  </a:lnTo>
                  <a:lnTo>
                    <a:pt x="331030" y="1179469"/>
                  </a:lnTo>
                  <a:lnTo>
                    <a:pt x="349516" y="1221616"/>
                  </a:lnTo>
                  <a:lnTo>
                    <a:pt x="326582" y="1243793"/>
                  </a:lnTo>
                  <a:lnTo>
                    <a:pt x="356172" y="1268936"/>
                  </a:lnTo>
                  <a:lnTo>
                    <a:pt x="366520" y="1294805"/>
                  </a:lnTo>
                  <a:lnTo>
                    <a:pt x="409423" y="1330295"/>
                  </a:lnTo>
                  <a:lnTo>
                    <a:pt x="419770" y="1320674"/>
                  </a:lnTo>
                  <a:lnTo>
                    <a:pt x="439739" y="1333230"/>
                  </a:lnTo>
                  <a:lnTo>
                    <a:pt x="439013" y="1358372"/>
                  </a:lnTo>
                  <a:lnTo>
                    <a:pt x="544757" y="1418279"/>
                  </a:lnTo>
                  <a:lnTo>
                    <a:pt x="585572" y="1475735"/>
                  </a:lnTo>
                  <a:lnTo>
                    <a:pt x="623876" y="1453043"/>
                  </a:lnTo>
                  <a:lnTo>
                    <a:pt x="623876" y="1404997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Полилиния: фигура 15">
              <a:extLst>
                <a:ext uri="{FF2B5EF4-FFF2-40B4-BE49-F238E27FC236}">
                  <a16:creationId xmlns:a16="http://schemas.microsoft.com/office/drawing/2014/main" xmlns="" id="{4D33F298-43EB-4C91-B3BC-E930C3266D1C}"/>
                </a:ext>
              </a:extLst>
            </p:cNvPr>
            <p:cNvSpPr/>
            <p:nvPr/>
          </p:nvSpPr>
          <p:spPr>
            <a:xfrm>
              <a:off x="4466740" y="900476"/>
              <a:ext cx="1095263" cy="732192"/>
            </a:xfrm>
            <a:custGeom>
              <a:avLst/>
              <a:gdLst>
                <a:gd name="connsiteX0" fmla="*/ 111009 w 1095262"/>
                <a:gd name="connsiteY0" fmla="*/ 701483 h 732192"/>
                <a:gd name="connsiteX1" fmla="*/ 121356 w 1095262"/>
                <a:gd name="connsiteY1" fmla="*/ 728108 h 732192"/>
                <a:gd name="connsiteX2" fmla="*/ 225618 w 1095262"/>
                <a:gd name="connsiteY2" fmla="*/ 734038 h 732192"/>
                <a:gd name="connsiteX3" fmla="*/ 224892 w 1095262"/>
                <a:gd name="connsiteY3" fmla="*/ 696339 h 732192"/>
                <a:gd name="connsiteX4" fmla="*/ 254482 w 1095262"/>
                <a:gd name="connsiteY4" fmla="*/ 681544 h 732192"/>
                <a:gd name="connsiteX5" fmla="*/ 308459 w 1095262"/>
                <a:gd name="connsiteY5" fmla="*/ 720725 h 732192"/>
                <a:gd name="connsiteX6" fmla="*/ 339532 w 1095262"/>
                <a:gd name="connsiteY6" fmla="*/ 685235 h 732192"/>
                <a:gd name="connsiteX7" fmla="*/ 326976 w 1095262"/>
                <a:gd name="connsiteY7" fmla="*/ 650471 h 732192"/>
                <a:gd name="connsiteX8" fmla="*/ 414233 w 1095262"/>
                <a:gd name="connsiteY8" fmla="*/ 583908 h 732192"/>
                <a:gd name="connsiteX9" fmla="*/ 403886 w 1095262"/>
                <a:gd name="connsiteY9" fmla="*/ 551383 h 732192"/>
                <a:gd name="connsiteX10" fmla="*/ 417925 w 1095262"/>
                <a:gd name="connsiteY10" fmla="*/ 529206 h 732192"/>
                <a:gd name="connsiteX11" fmla="*/ 355809 w 1095262"/>
                <a:gd name="connsiteY11" fmla="*/ 454504 h 732192"/>
                <a:gd name="connsiteX12" fmla="*/ 398712 w 1095262"/>
                <a:gd name="connsiteY12" fmla="*/ 393871 h 732192"/>
                <a:gd name="connsiteX13" fmla="*/ 440133 w 1095262"/>
                <a:gd name="connsiteY13" fmla="*/ 384250 h 732192"/>
                <a:gd name="connsiteX14" fmla="*/ 463793 w 1095262"/>
                <a:gd name="connsiteY14" fmla="*/ 419740 h 732192"/>
                <a:gd name="connsiteX15" fmla="*/ 476349 w 1095262"/>
                <a:gd name="connsiteY15" fmla="*/ 384250 h 732192"/>
                <a:gd name="connsiteX16" fmla="*/ 517013 w 1095262"/>
                <a:gd name="connsiteY16" fmla="*/ 368728 h 732192"/>
                <a:gd name="connsiteX17" fmla="*/ 536225 w 1095262"/>
                <a:gd name="connsiteY17" fmla="*/ 405701 h 732192"/>
                <a:gd name="connsiteX18" fmla="*/ 568750 w 1095262"/>
                <a:gd name="connsiteY18" fmla="*/ 407910 h 732192"/>
                <a:gd name="connsiteX19" fmla="*/ 572442 w 1095262"/>
                <a:gd name="connsiteY19" fmla="*/ 436744 h 732192"/>
                <a:gd name="connsiteX20" fmla="*/ 618279 w 1095262"/>
                <a:gd name="connsiteY20" fmla="*/ 457439 h 732192"/>
                <a:gd name="connsiteX21" fmla="*/ 630109 w 1095262"/>
                <a:gd name="connsiteY21" fmla="*/ 423431 h 732192"/>
                <a:gd name="connsiteX22" fmla="*/ 682603 w 1095262"/>
                <a:gd name="connsiteY22" fmla="*/ 413810 h 732192"/>
                <a:gd name="connsiteX23" fmla="*/ 718093 w 1095262"/>
                <a:gd name="connsiteY23" fmla="*/ 441161 h 732192"/>
                <a:gd name="connsiteX24" fmla="*/ 756549 w 1095262"/>
                <a:gd name="connsiteY24" fmla="*/ 415292 h 732192"/>
                <a:gd name="connsiteX25" fmla="*/ 795730 w 1095262"/>
                <a:gd name="connsiteY25" fmla="*/ 443400 h 732192"/>
                <a:gd name="connsiteX26" fmla="*/ 794247 w 1095262"/>
                <a:gd name="connsiteY26" fmla="*/ 506241 h 732192"/>
                <a:gd name="connsiteX27" fmla="*/ 870401 w 1095262"/>
                <a:gd name="connsiteY27" fmla="*/ 509207 h 732192"/>
                <a:gd name="connsiteX28" fmla="*/ 882232 w 1095262"/>
                <a:gd name="connsiteY28" fmla="*/ 480373 h 732192"/>
                <a:gd name="connsiteX29" fmla="*/ 943621 w 1095262"/>
                <a:gd name="connsiteY29" fmla="*/ 462612 h 732192"/>
                <a:gd name="connsiteX30" fmla="*/ 960624 w 1095262"/>
                <a:gd name="connsiteY30" fmla="*/ 524002 h 732192"/>
                <a:gd name="connsiteX31" fmla="*/ 1023466 w 1095262"/>
                <a:gd name="connsiteY31" fmla="*/ 521793 h 732192"/>
                <a:gd name="connsiteX32" fmla="*/ 1046400 w 1095262"/>
                <a:gd name="connsiteY32" fmla="*/ 543971 h 732192"/>
                <a:gd name="connsiteX33" fmla="*/ 1092994 w 1095262"/>
                <a:gd name="connsiteY33" fmla="*/ 544697 h 732192"/>
                <a:gd name="connsiteX34" fmla="*/ 1064886 w 1095262"/>
                <a:gd name="connsiteY34" fmla="*/ 506998 h 732192"/>
                <a:gd name="connsiteX35" fmla="*/ 1097411 w 1095262"/>
                <a:gd name="connsiteY35" fmla="*/ 489238 h 732192"/>
                <a:gd name="connsiteX36" fmla="*/ 1092964 w 1095262"/>
                <a:gd name="connsiteY36" fmla="*/ 468543 h 732192"/>
                <a:gd name="connsiteX37" fmla="*/ 1064130 w 1095262"/>
                <a:gd name="connsiteY37" fmla="*/ 463369 h 732192"/>
                <a:gd name="connsiteX38" fmla="*/ 1035296 w 1095262"/>
                <a:gd name="connsiteY38" fmla="*/ 483338 h 732192"/>
                <a:gd name="connsiteX39" fmla="*/ 1013845 w 1095262"/>
                <a:gd name="connsiteY39" fmla="*/ 445639 h 732192"/>
                <a:gd name="connsiteX40" fmla="*/ 1041952 w 1095262"/>
                <a:gd name="connsiteY40" fmla="*/ 413840 h 732192"/>
                <a:gd name="connsiteX41" fmla="*/ 1015327 w 1095262"/>
                <a:gd name="connsiteY41" fmla="*/ 405701 h 732192"/>
                <a:gd name="connsiteX42" fmla="*/ 989458 w 1095262"/>
                <a:gd name="connsiteY42" fmla="*/ 414566 h 732192"/>
                <a:gd name="connsiteX43" fmla="*/ 981320 w 1095262"/>
                <a:gd name="connsiteY43" fmla="*/ 397562 h 732192"/>
                <a:gd name="connsiteX44" fmla="*/ 1004980 w 1095262"/>
                <a:gd name="connsiteY44" fmla="*/ 389423 h 732192"/>
                <a:gd name="connsiteX45" fmla="*/ 1000230 w 1095262"/>
                <a:gd name="connsiteY45" fmla="*/ 361921 h 732192"/>
                <a:gd name="connsiteX46" fmla="*/ 987734 w 1095262"/>
                <a:gd name="connsiteY46" fmla="*/ 360317 h 732192"/>
                <a:gd name="connsiteX47" fmla="*/ 987250 w 1095262"/>
                <a:gd name="connsiteY47" fmla="*/ 345038 h 732192"/>
                <a:gd name="connsiteX48" fmla="*/ 971970 w 1095262"/>
                <a:gd name="connsiteY48" fmla="*/ 335175 h 732192"/>
                <a:gd name="connsiteX49" fmla="*/ 972969 w 1095262"/>
                <a:gd name="connsiteY49" fmla="*/ 304102 h 732192"/>
                <a:gd name="connsiteX50" fmla="*/ 984315 w 1095262"/>
                <a:gd name="connsiteY50" fmla="*/ 282408 h 732192"/>
                <a:gd name="connsiteX51" fmla="*/ 984315 w 1095262"/>
                <a:gd name="connsiteY51" fmla="*/ 269096 h 732192"/>
                <a:gd name="connsiteX52" fmla="*/ 1006492 w 1095262"/>
                <a:gd name="connsiteY52" fmla="*/ 267613 h 732192"/>
                <a:gd name="connsiteX53" fmla="*/ 1008943 w 1095262"/>
                <a:gd name="connsiteY53" fmla="*/ 247402 h 732192"/>
                <a:gd name="connsiteX54" fmla="*/ 1007945 w 1095262"/>
                <a:gd name="connsiteY54" fmla="*/ 226707 h 732192"/>
                <a:gd name="connsiteX55" fmla="*/ 996114 w 1095262"/>
                <a:gd name="connsiteY55" fmla="*/ 225225 h 732192"/>
                <a:gd name="connsiteX56" fmla="*/ 972454 w 1095262"/>
                <a:gd name="connsiteY56" fmla="*/ 250852 h 732192"/>
                <a:gd name="connsiteX57" fmla="*/ 930066 w 1095262"/>
                <a:gd name="connsiteY57" fmla="*/ 251336 h 732192"/>
                <a:gd name="connsiteX58" fmla="*/ 912820 w 1095262"/>
                <a:gd name="connsiteY58" fmla="*/ 230641 h 732192"/>
                <a:gd name="connsiteX59" fmla="*/ 874849 w 1095262"/>
                <a:gd name="connsiteY59" fmla="*/ 225709 h 732192"/>
                <a:gd name="connsiteX60" fmla="*/ 861536 w 1095262"/>
                <a:gd name="connsiteY60" fmla="*/ 228674 h 732192"/>
                <a:gd name="connsiteX61" fmla="*/ 858571 w 1095262"/>
                <a:gd name="connsiteY61" fmla="*/ 249369 h 732192"/>
                <a:gd name="connsiteX62" fmla="*/ 872882 w 1095262"/>
                <a:gd name="connsiteY62" fmla="*/ 249369 h 732192"/>
                <a:gd name="connsiteX63" fmla="*/ 877330 w 1095262"/>
                <a:gd name="connsiteY63" fmla="*/ 261199 h 732192"/>
                <a:gd name="connsiteX64" fmla="*/ 863533 w 1095262"/>
                <a:gd name="connsiteY64" fmla="*/ 263166 h 732192"/>
                <a:gd name="connsiteX65" fmla="*/ 856151 w 1095262"/>
                <a:gd name="connsiteY65" fmla="*/ 280926 h 732192"/>
                <a:gd name="connsiteX66" fmla="*/ 843322 w 1095262"/>
                <a:gd name="connsiteY66" fmla="*/ 279927 h 732192"/>
                <a:gd name="connsiteX67" fmla="*/ 839873 w 1095262"/>
                <a:gd name="connsiteY67" fmla="*/ 265132 h 732192"/>
                <a:gd name="connsiteX68" fmla="*/ 843322 w 1095262"/>
                <a:gd name="connsiteY68" fmla="*/ 255269 h 732192"/>
                <a:gd name="connsiteX69" fmla="*/ 838391 w 1095262"/>
                <a:gd name="connsiteY69" fmla="*/ 244921 h 732192"/>
                <a:gd name="connsiteX70" fmla="*/ 850221 w 1095262"/>
                <a:gd name="connsiteY70" fmla="*/ 233091 h 732192"/>
                <a:gd name="connsiteX71" fmla="*/ 841356 w 1095262"/>
                <a:gd name="connsiteY71" fmla="*/ 225195 h 732192"/>
                <a:gd name="connsiteX72" fmla="*/ 823111 w 1095262"/>
                <a:gd name="connsiteY72" fmla="*/ 211398 h 732192"/>
                <a:gd name="connsiteX73" fmla="*/ 805866 w 1095262"/>
                <a:gd name="connsiteY73" fmla="*/ 191187 h 732192"/>
                <a:gd name="connsiteX74" fmla="*/ 784172 w 1095262"/>
                <a:gd name="connsiteY74" fmla="*/ 191187 h 732192"/>
                <a:gd name="connsiteX75" fmla="*/ 795004 w 1095262"/>
                <a:gd name="connsiteY75" fmla="*/ 203501 h 732192"/>
                <a:gd name="connsiteX76" fmla="*/ 794520 w 1095262"/>
                <a:gd name="connsiteY76" fmla="*/ 220747 h 732192"/>
                <a:gd name="connsiteX77" fmla="*/ 810283 w 1095262"/>
                <a:gd name="connsiteY77" fmla="*/ 227161 h 732192"/>
                <a:gd name="connsiteX78" fmla="*/ 804353 w 1095262"/>
                <a:gd name="connsiteY78" fmla="*/ 239475 h 732192"/>
                <a:gd name="connsiteX79" fmla="*/ 787107 w 1095262"/>
                <a:gd name="connsiteY79" fmla="*/ 227645 h 732192"/>
                <a:gd name="connsiteX80" fmla="*/ 774793 w 1095262"/>
                <a:gd name="connsiteY80" fmla="*/ 219264 h 732192"/>
                <a:gd name="connsiteX81" fmla="*/ 744718 w 1095262"/>
                <a:gd name="connsiteY81" fmla="*/ 219264 h 732192"/>
                <a:gd name="connsiteX82" fmla="*/ 744718 w 1095262"/>
                <a:gd name="connsiteY82" fmla="*/ 252788 h 732192"/>
                <a:gd name="connsiteX83" fmla="*/ 718577 w 1095262"/>
                <a:gd name="connsiteY83" fmla="*/ 254755 h 732192"/>
                <a:gd name="connsiteX84" fmla="*/ 710681 w 1095262"/>
                <a:gd name="connsiteY84" fmla="*/ 243923 h 732192"/>
                <a:gd name="connsiteX85" fmla="*/ 690954 w 1095262"/>
                <a:gd name="connsiteY85" fmla="*/ 239475 h 732192"/>
                <a:gd name="connsiteX86" fmla="*/ 679124 w 1095262"/>
                <a:gd name="connsiteY86" fmla="*/ 260685 h 732192"/>
                <a:gd name="connsiteX87" fmla="*/ 664329 w 1095262"/>
                <a:gd name="connsiteY87" fmla="*/ 250337 h 732192"/>
                <a:gd name="connsiteX88" fmla="*/ 657914 w 1095262"/>
                <a:gd name="connsiteY88" fmla="*/ 225195 h 732192"/>
                <a:gd name="connsiteX89" fmla="*/ 651984 w 1095262"/>
                <a:gd name="connsiteY89" fmla="*/ 223228 h 732192"/>
                <a:gd name="connsiteX90" fmla="*/ 647537 w 1095262"/>
                <a:gd name="connsiteY90" fmla="*/ 215845 h 732192"/>
                <a:gd name="connsiteX91" fmla="*/ 673163 w 1095262"/>
                <a:gd name="connsiteY91" fmla="*/ 214847 h 732192"/>
                <a:gd name="connsiteX92" fmla="*/ 672679 w 1095262"/>
                <a:gd name="connsiteY92" fmla="*/ 184773 h 732192"/>
                <a:gd name="connsiteX93" fmla="*/ 662332 w 1095262"/>
                <a:gd name="connsiteY93" fmla="*/ 153700 h 732192"/>
                <a:gd name="connsiteX94" fmla="*/ 669230 w 1095262"/>
                <a:gd name="connsiteY94" fmla="*/ 145319 h 732192"/>
                <a:gd name="connsiteX95" fmla="*/ 663814 w 1095262"/>
                <a:gd name="connsiteY95" fmla="*/ 131008 h 732192"/>
                <a:gd name="connsiteX96" fmla="*/ 645570 w 1095262"/>
                <a:gd name="connsiteY96" fmla="*/ 128557 h 732192"/>
                <a:gd name="connsiteX97" fmla="*/ 620912 w 1095262"/>
                <a:gd name="connsiteY97" fmla="*/ 95518 h 732192"/>
                <a:gd name="connsiteX98" fmla="*/ 620912 w 1095262"/>
                <a:gd name="connsiteY98" fmla="*/ 49257 h 732192"/>
                <a:gd name="connsiteX99" fmla="*/ 584937 w 1095262"/>
                <a:gd name="connsiteY99" fmla="*/ 8835 h 732192"/>
                <a:gd name="connsiteX100" fmla="*/ 569658 w 1095262"/>
                <a:gd name="connsiteY100" fmla="*/ 18698 h 732192"/>
                <a:gd name="connsiteX101" fmla="*/ 548963 w 1095262"/>
                <a:gd name="connsiteY101" fmla="*/ 18698 h 732192"/>
                <a:gd name="connsiteX102" fmla="*/ 516922 w 1095262"/>
                <a:gd name="connsiteY102" fmla="*/ 45807 h 732192"/>
                <a:gd name="connsiteX103" fmla="*/ 508541 w 1095262"/>
                <a:gd name="connsiteY103" fmla="*/ 37427 h 732192"/>
                <a:gd name="connsiteX104" fmla="*/ 482400 w 1095262"/>
                <a:gd name="connsiteY104" fmla="*/ 34976 h 732192"/>
                <a:gd name="connsiteX105" fmla="*/ 460222 w 1095262"/>
                <a:gd name="connsiteY105" fmla="*/ 11316 h 732192"/>
                <a:gd name="connsiteX106" fmla="*/ 420769 w 1095262"/>
                <a:gd name="connsiteY106" fmla="*/ 11316 h 732192"/>
                <a:gd name="connsiteX107" fmla="*/ 411390 w 1095262"/>
                <a:gd name="connsiteY107" fmla="*/ 4417 h 732192"/>
                <a:gd name="connsiteX108" fmla="*/ 392177 w 1095262"/>
                <a:gd name="connsiteY108" fmla="*/ 15763 h 732192"/>
                <a:gd name="connsiteX109" fmla="*/ 353722 w 1095262"/>
                <a:gd name="connsiteY109" fmla="*/ 0 h 732192"/>
                <a:gd name="connsiteX110" fmla="*/ 356687 w 1095262"/>
                <a:gd name="connsiteY110" fmla="*/ 27593 h 732192"/>
                <a:gd name="connsiteX111" fmla="*/ 322679 w 1095262"/>
                <a:gd name="connsiteY111" fmla="*/ 19213 h 732192"/>
                <a:gd name="connsiteX112" fmla="*/ 311848 w 1095262"/>
                <a:gd name="connsiteY112" fmla="*/ 58152 h 732192"/>
                <a:gd name="connsiteX113" fmla="*/ 260080 w 1095262"/>
                <a:gd name="connsiteY113" fmla="*/ 63568 h 732192"/>
                <a:gd name="connsiteX114" fmla="*/ 272394 w 1095262"/>
                <a:gd name="connsiteY114" fmla="*/ 86744 h 732192"/>
                <a:gd name="connsiteX115" fmla="*/ 273392 w 1095262"/>
                <a:gd name="connsiteY115" fmla="*/ 111402 h 732192"/>
                <a:gd name="connsiteX116" fmla="*/ 218175 w 1095262"/>
                <a:gd name="connsiteY116" fmla="*/ 112885 h 732192"/>
                <a:gd name="connsiteX117" fmla="*/ 213243 w 1095262"/>
                <a:gd name="connsiteY117" fmla="*/ 133580 h 732192"/>
                <a:gd name="connsiteX118" fmla="*/ 196966 w 1095262"/>
                <a:gd name="connsiteY118" fmla="*/ 140478 h 732192"/>
                <a:gd name="connsiteX119" fmla="*/ 163442 w 1095262"/>
                <a:gd name="connsiteY119" fmla="*/ 140478 h 732192"/>
                <a:gd name="connsiteX120" fmla="*/ 1089 w 1095262"/>
                <a:gd name="connsiteY120" fmla="*/ 201655 h 732192"/>
                <a:gd name="connsiteX121" fmla="*/ 17760 w 1095262"/>
                <a:gd name="connsiteY121" fmla="*/ 262984 h 732192"/>
                <a:gd name="connsiteX122" fmla="*/ 6657 w 1095262"/>
                <a:gd name="connsiteY122" fmla="*/ 281470 h 732192"/>
                <a:gd name="connsiteX123" fmla="*/ 31799 w 1095262"/>
                <a:gd name="connsiteY123" fmla="*/ 292574 h 732192"/>
                <a:gd name="connsiteX124" fmla="*/ 41420 w 1095262"/>
                <a:gd name="connsiteY124" fmla="*/ 322891 h 732192"/>
                <a:gd name="connsiteX125" fmla="*/ 13313 w 1095262"/>
                <a:gd name="connsiteY125" fmla="*/ 323617 h 732192"/>
                <a:gd name="connsiteX126" fmla="*/ 0 w 1095262"/>
                <a:gd name="connsiteY126" fmla="*/ 348033 h 732192"/>
                <a:gd name="connsiteX127" fmla="*/ 18486 w 1095262"/>
                <a:gd name="connsiteY127" fmla="*/ 443430 h 732192"/>
                <a:gd name="connsiteX128" fmla="*/ 42903 w 1095262"/>
                <a:gd name="connsiteY128" fmla="*/ 445639 h 732192"/>
                <a:gd name="connsiteX129" fmla="*/ 39212 w 1095262"/>
                <a:gd name="connsiteY129" fmla="*/ 484094 h 732192"/>
                <a:gd name="connsiteX130" fmla="*/ 47351 w 1095262"/>
                <a:gd name="connsiteY130" fmla="*/ 521067 h 732192"/>
                <a:gd name="connsiteX131" fmla="*/ 28138 w 1095262"/>
                <a:gd name="connsiteY131" fmla="*/ 558766 h 732192"/>
                <a:gd name="connsiteX132" fmla="*/ 59937 w 1095262"/>
                <a:gd name="connsiteY132" fmla="*/ 555074 h 732192"/>
                <a:gd name="connsiteX133" fmla="*/ 61420 w 1095262"/>
                <a:gd name="connsiteY133" fmla="*/ 572078 h 732192"/>
                <a:gd name="connsiteX134" fmla="*/ 35551 w 1095262"/>
                <a:gd name="connsiteY134" fmla="*/ 595012 h 732192"/>
                <a:gd name="connsiteX135" fmla="*/ 28955 w 1095262"/>
                <a:gd name="connsiteY135" fmla="*/ 690076 h 732192"/>
                <a:gd name="connsiteX136" fmla="*/ 67350 w 1095262"/>
                <a:gd name="connsiteY136" fmla="*/ 718487 h 732192"/>
                <a:gd name="connsiteX137" fmla="*/ 111009 w 1095262"/>
                <a:gd name="connsiteY137" fmla="*/ 701483 h 732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</a:cxnLst>
              <a:rect l="l" t="t" r="r" b="b"/>
              <a:pathLst>
                <a:path w="1095262" h="732192">
                  <a:moveTo>
                    <a:pt x="111009" y="701483"/>
                  </a:moveTo>
                  <a:lnTo>
                    <a:pt x="121356" y="728108"/>
                  </a:lnTo>
                  <a:lnTo>
                    <a:pt x="225618" y="734038"/>
                  </a:lnTo>
                  <a:lnTo>
                    <a:pt x="224892" y="696339"/>
                  </a:lnTo>
                  <a:lnTo>
                    <a:pt x="254482" y="681544"/>
                  </a:lnTo>
                  <a:lnTo>
                    <a:pt x="308459" y="720725"/>
                  </a:lnTo>
                  <a:lnTo>
                    <a:pt x="339532" y="685235"/>
                  </a:lnTo>
                  <a:lnTo>
                    <a:pt x="326976" y="650471"/>
                  </a:lnTo>
                  <a:lnTo>
                    <a:pt x="414233" y="583908"/>
                  </a:lnTo>
                  <a:lnTo>
                    <a:pt x="403886" y="551383"/>
                  </a:lnTo>
                  <a:lnTo>
                    <a:pt x="417925" y="529206"/>
                  </a:lnTo>
                  <a:lnTo>
                    <a:pt x="355809" y="454504"/>
                  </a:lnTo>
                  <a:lnTo>
                    <a:pt x="398712" y="393871"/>
                  </a:lnTo>
                  <a:lnTo>
                    <a:pt x="440133" y="384250"/>
                  </a:lnTo>
                  <a:lnTo>
                    <a:pt x="463793" y="419740"/>
                  </a:lnTo>
                  <a:lnTo>
                    <a:pt x="476349" y="384250"/>
                  </a:lnTo>
                  <a:lnTo>
                    <a:pt x="517013" y="368728"/>
                  </a:lnTo>
                  <a:lnTo>
                    <a:pt x="536225" y="405701"/>
                  </a:lnTo>
                  <a:lnTo>
                    <a:pt x="568750" y="407910"/>
                  </a:lnTo>
                  <a:lnTo>
                    <a:pt x="572442" y="436744"/>
                  </a:lnTo>
                  <a:lnTo>
                    <a:pt x="618279" y="457439"/>
                  </a:lnTo>
                  <a:lnTo>
                    <a:pt x="630109" y="423431"/>
                  </a:lnTo>
                  <a:lnTo>
                    <a:pt x="682603" y="413810"/>
                  </a:lnTo>
                  <a:lnTo>
                    <a:pt x="718093" y="441161"/>
                  </a:lnTo>
                  <a:lnTo>
                    <a:pt x="756549" y="415292"/>
                  </a:lnTo>
                  <a:lnTo>
                    <a:pt x="795730" y="443400"/>
                  </a:lnTo>
                  <a:lnTo>
                    <a:pt x="794247" y="506241"/>
                  </a:lnTo>
                  <a:lnTo>
                    <a:pt x="870401" y="509207"/>
                  </a:lnTo>
                  <a:lnTo>
                    <a:pt x="882232" y="480373"/>
                  </a:lnTo>
                  <a:lnTo>
                    <a:pt x="943621" y="462612"/>
                  </a:lnTo>
                  <a:lnTo>
                    <a:pt x="960624" y="524002"/>
                  </a:lnTo>
                  <a:lnTo>
                    <a:pt x="1023466" y="521793"/>
                  </a:lnTo>
                  <a:lnTo>
                    <a:pt x="1046400" y="543971"/>
                  </a:lnTo>
                  <a:lnTo>
                    <a:pt x="1092994" y="544697"/>
                  </a:lnTo>
                  <a:lnTo>
                    <a:pt x="1064886" y="506998"/>
                  </a:lnTo>
                  <a:lnTo>
                    <a:pt x="1097411" y="489238"/>
                  </a:lnTo>
                  <a:lnTo>
                    <a:pt x="1092964" y="468543"/>
                  </a:lnTo>
                  <a:lnTo>
                    <a:pt x="1064130" y="463369"/>
                  </a:lnTo>
                  <a:lnTo>
                    <a:pt x="1035296" y="483338"/>
                  </a:lnTo>
                  <a:lnTo>
                    <a:pt x="1013845" y="445639"/>
                  </a:lnTo>
                  <a:lnTo>
                    <a:pt x="1041952" y="413840"/>
                  </a:lnTo>
                  <a:lnTo>
                    <a:pt x="1015327" y="405701"/>
                  </a:lnTo>
                  <a:lnTo>
                    <a:pt x="989458" y="414566"/>
                  </a:lnTo>
                  <a:lnTo>
                    <a:pt x="981320" y="397562"/>
                  </a:lnTo>
                  <a:lnTo>
                    <a:pt x="1004980" y="389423"/>
                  </a:lnTo>
                  <a:lnTo>
                    <a:pt x="1000230" y="361921"/>
                  </a:lnTo>
                  <a:cubicBezTo>
                    <a:pt x="995842" y="363645"/>
                    <a:pt x="990033" y="363192"/>
                    <a:pt x="987734" y="360317"/>
                  </a:cubicBezTo>
                  <a:cubicBezTo>
                    <a:pt x="984648" y="356505"/>
                    <a:pt x="989942" y="350968"/>
                    <a:pt x="987250" y="345038"/>
                  </a:cubicBezTo>
                  <a:cubicBezTo>
                    <a:pt x="984436" y="338805"/>
                    <a:pt x="976932" y="341196"/>
                    <a:pt x="971970" y="335175"/>
                  </a:cubicBezTo>
                  <a:cubicBezTo>
                    <a:pt x="965284" y="327096"/>
                    <a:pt x="969580" y="311666"/>
                    <a:pt x="972969" y="304102"/>
                  </a:cubicBezTo>
                  <a:cubicBezTo>
                    <a:pt x="977689" y="293543"/>
                    <a:pt x="983528" y="291848"/>
                    <a:pt x="984315" y="282408"/>
                  </a:cubicBezTo>
                  <a:cubicBezTo>
                    <a:pt x="984890" y="275268"/>
                    <a:pt x="981925" y="271849"/>
                    <a:pt x="984315" y="269096"/>
                  </a:cubicBezTo>
                  <a:cubicBezTo>
                    <a:pt x="988611" y="264164"/>
                    <a:pt x="1000441" y="272696"/>
                    <a:pt x="1006492" y="267613"/>
                  </a:cubicBezTo>
                  <a:cubicBezTo>
                    <a:pt x="1009003" y="265495"/>
                    <a:pt x="1008005" y="263135"/>
                    <a:pt x="1008943" y="247402"/>
                  </a:cubicBezTo>
                  <a:cubicBezTo>
                    <a:pt x="1009790" y="233424"/>
                    <a:pt x="1010910" y="229461"/>
                    <a:pt x="1007945" y="226707"/>
                  </a:cubicBezTo>
                  <a:cubicBezTo>
                    <a:pt x="1004253" y="223258"/>
                    <a:pt x="997537" y="224862"/>
                    <a:pt x="996114" y="225225"/>
                  </a:cubicBezTo>
                  <a:cubicBezTo>
                    <a:pt x="983498" y="228583"/>
                    <a:pt x="984587" y="242229"/>
                    <a:pt x="972454" y="250852"/>
                  </a:cubicBezTo>
                  <a:cubicBezTo>
                    <a:pt x="960504" y="259384"/>
                    <a:pt x="941503" y="258900"/>
                    <a:pt x="930066" y="251336"/>
                  </a:cubicBezTo>
                  <a:cubicBezTo>
                    <a:pt x="919870" y="244619"/>
                    <a:pt x="923773" y="237630"/>
                    <a:pt x="912820" y="230641"/>
                  </a:cubicBezTo>
                  <a:cubicBezTo>
                    <a:pt x="904954" y="225618"/>
                    <a:pt x="894939" y="225648"/>
                    <a:pt x="874849" y="225709"/>
                  </a:cubicBezTo>
                  <a:cubicBezTo>
                    <a:pt x="868193" y="225739"/>
                    <a:pt x="864622" y="226102"/>
                    <a:pt x="861536" y="228674"/>
                  </a:cubicBezTo>
                  <a:cubicBezTo>
                    <a:pt x="855032" y="234090"/>
                    <a:pt x="854305" y="246283"/>
                    <a:pt x="858571" y="249369"/>
                  </a:cubicBezTo>
                  <a:cubicBezTo>
                    <a:pt x="862262" y="252032"/>
                    <a:pt x="867497" y="246404"/>
                    <a:pt x="872882" y="249369"/>
                  </a:cubicBezTo>
                  <a:cubicBezTo>
                    <a:pt x="877179" y="251759"/>
                    <a:pt x="879357" y="258476"/>
                    <a:pt x="877330" y="261199"/>
                  </a:cubicBezTo>
                  <a:cubicBezTo>
                    <a:pt x="874940" y="264406"/>
                    <a:pt x="868465" y="259716"/>
                    <a:pt x="863533" y="263166"/>
                  </a:cubicBezTo>
                  <a:cubicBezTo>
                    <a:pt x="857754" y="267220"/>
                    <a:pt x="862021" y="276841"/>
                    <a:pt x="856151" y="280926"/>
                  </a:cubicBezTo>
                  <a:cubicBezTo>
                    <a:pt x="852520" y="283467"/>
                    <a:pt x="846711" y="282681"/>
                    <a:pt x="843322" y="279927"/>
                  </a:cubicBezTo>
                  <a:cubicBezTo>
                    <a:pt x="837876" y="275510"/>
                    <a:pt x="839571" y="266554"/>
                    <a:pt x="839873" y="265132"/>
                  </a:cubicBezTo>
                  <a:cubicBezTo>
                    <a:pt x="840963" y="259898"/>
                    <a:pt x="843564" y="259232"/>
                    <a:pt x="843322" y="255269"/>
                  </a:cubicBezTo>
                  <a:cubicBezTo>
                    <a:pt x="843020" y="249883"/>
                    <a:pt x="838088" y="248764"/>
                    <a:pt x="838391" y="244921"/>
                  </a:cubicBezTo>
                  <a:cubicBezTo>
                    <a:pt x="838844" y="239173"/>
                    <a:pt x="850130" y="237872"/>
                    <a:pt x="850221" y="233091"/>
                  </a:cubicBezTo>
                  <a:cubicBezTo>
                    <a:pt x="850281" y="230429"/>
                    <a:pt x="846862" y="228765"/>
                    <a:pt x="841356" y="225195"/>
                  </a:cubicBezTo>
                  <a:cubicBezTo>
                    <a:pt x="841356" y="225195"/>
                    <a:pt x="831280" y="218720"/>
                    <a:pt x="823111" y="211398"/>
                  </a:cubicBezTo>
                  <a:cubicBezTo>
                    <a:pt x="811766" y="201262"/>
                    <a:pt x="814398" y="195725"/>
                    <a:pt x="805866" y="191187"/>
                  </a:cubicBezTo>
                  <a:cubicBezTo>
                    <a:pt x="796577" y="186255"/>
                    <a:pt x="784989" y="188252"/>
                    <a:pt x="784172" y="191187"/>
                  </a:cubicBezTo>
                  <a:cubicBezTo>
                    <a:pt x="783416" y="193910"/>
                    <a:pt x="792402" y="195544"/>
                    <a:pt x="795004" y="203501"/>
                  </a:cubicBezTo>
                  <a:cubicBezTo>
                    <a:pt x="797485" y="211095"/>
                    <a:pt x="791434" y="216088"/>
                    <a:pt x="794520" y="220747"/>
                  </a:cubicBezTo>
                  <a:cubicBezTo>
                    <a:pt x="798029" y="226072"/>
                    <a:pt x="807772" y="222290"/>
                    <a:pt x="810283" y="227161"/>
                  </a:cubicBezTo>
                  <a:cubicBezTo>
                    <a:pt x="812280" y="231034"/>
                    <a:pt x="808770" y="238477"/>
                    <a:pt x="804353" y="239475"/>
                  </a:cubicBezTo>
                  <a:cubicBezTo>
                    <a:pt x="800541" y="240353"/>
                    <a:pt x="798060" y="235996"/>
                    <a:pt x="787107" y="227645"/>
                  </a:cubicBezTo>
                  <a:cubicBezTo>
                    <a:pt x="782569" y="224196"/>
                    <a:pt x="778545" y="221110"/>
                    <a:pt x="774793" y="219264"/>
                  </a:cubicBezTo>
                  <a:cubicBezTo>
                    <a:pt x="769195" y="216511"/>
                    <a:pt x="759937" y="214423"/>
                    <a:pt x="744718" y="219264"/>
                  </a:cubicBezTo>
                  <a:lnTo>
                    <a:pt x="744718" y="252788"/>
                  </a:lnTo>
                  <a:cubicBezTo>
                    <a:pt x="729470" y="259232"/>
                    <a:pt x="722299" y="257689"/>
                    <a:pt x="718577" y="254755"/>
                  </a:cubicBezTo>
                  <a:cubicBezTo>
                    <a:pt x="714795" y="251789"/>
                    <a:pt x="715582" y="248129"/>
                    <a:pt x="710681" y="243923"/>
                  </a:cubicBezTo>
                  <a:cubicBezTo>
                    <a:pt x="705749" y="239657"/>
                    <a:pt x="696884" y="236420"/>
                    <a:pt x="690954" y="239475"/>
                  </a:cubicBezTo>
                  <a:cubicBezTo>
                    <a:pt x="682331" y="243953"/>
                    <a:pt x="685750" y="258718"/>
                    <a:pt x="679124" y="260685"/>
                  </a:cubicBezTo>
                  <a:cubicBezTo>
                    <a:pt x="674464" y="262046"/>
                    <a:pt x="667566" y="256267"/>
                    <a:pt x="664329" y="250337"/>
                  </a:cubicBezTo>
                  <a:cubicBezTo>
                    <a:pt x="658701" y="239990"/>
                    <a:pt x="663693" y="228220"/>
                    <a:pt x="657914" y="225195"/>
                  </a:cubicBezTo>
                  <a:cubicBezTo>
                    <a:pt x="656039" y="224196"/>
                    <a:pt x="654586" y="224983"/>
                    <a:pt x="651984" y="223228"/>
                  </a:cubicBezTo>
                  <a:cubicBezTo>
                    <a:pt x="649292" y="221413"/>
                    <a:pt x="646659" y="217691"/>
                    <a:pt x="647537" y="215845"/>
                  </a:cubicBezTo>
                  <a:cubicBezTo>
                    <a:pt x="649473" y="211761"/>
                    <a:pt x="666023" y="221171"/>
                    <a:pt x="673163" y="214847"/>
                  </a:cubicBezTo>
                  <a:cubicBezTo>
                    <a:pt x="680364" y="208493"/>
                    <a:pt x="674222" y="189583"/>
                    <a:pt x="672679" y="184773"/>
                  </a:cubicBezTo>
                  <a:cubicBezTo>
                    <a:pt x="667505" y="168798"/>
                    <a:pt x="658580" y="161022"/>
                    <a:pt x="662332" y="153700"/>
                  </a:cubicBezTo>
                  <a:cubicBezTo>
                    <a:pt x="664329" y="149797"/>
                    <a:pt x="667990" y="149888"/>
                    <a:pt x="669230" y="145319"/>
                  </a:cubicBezTo>
                  <a:cubicBezTo>
                    <a:pt x="670622" y="140206"/>
                    <a:pt x="667657" y="134336"/>
                    <a:pt x="663814" y="131008"/>
                  </a:cubicBezTo>
                  <a:cubicBezTo>
                    <a:pt x="659034" y="126893"/>
                    <a:pt x="651984" y="125986"/>
                    <a:pt x="645570" y="128557"/>
                  </a:cubicBezTo>
                  <a:lnTo>
                    <a:pt x="620912" y="95518"/>
                  </a:lnTo>
                  <a:lnTo>
                    <a:pt x="620912" y="49257"/>
                  </a:lnTo>
                  <a:lnTo>
                    <a:pt x="584937" y="8835"/>
                  </a:lnTo>
                  <a:lnTo>
                    <a:pt x="569658" y="18698"/>
                  </a:lnTo>
                  <a:lnTo>
                    <a:pt x="548963" y="18698"/>
                  </a:lnTo>
                  <a:lnTo>
                    <a:pt x="516922" y="45807"/>
                  </a:lnTo>
                  <a:lnTo>
                    <a:pt x="508541" y="37427"/>
                  </a:lnTo>
                  <a:lnTo>
                    <a:pt x="482400" y="34976"/>
                  </a:lnTo>
                  <a:lnTo>
                    <a:pt x="460222" y="11316"/>
                  </a:lnTo>
                  <a:lnTo>
                    <a:pt x="420769" y="11316"/>
                  </a:lnTo>
                  <a:lnTo>
                    <a:pt x="411390" y="4417"/>
                  </a:lnTo>
                  <a:lnTo>
                    <a:pt x="392177" y="15763"/>
                  </a:lnTo>
                  <a:lnTo>
                    <a:pt x="353722" y="0"/>
                  </a:lnTo>
                  <a:lnTo>
                    <a:pt x="356687" y="27593"/>
                  </a:lnTo>
                  <a:lnTo>
                    <a:pt x="322679" y="19213"/>
                  </a:lnTo>
                  <a:lnTo>
                    <a:pt x="311848" y="58152"/>
                  </a:lnTo>
                  <a:lnTo>
                    <a:pt x="260080" y="63568"/>
                  </a:lnTo>
                  <a:lnTo>
                    <a:pt x="272394" y="86744"/>
                  </a:lnTo>
                  <a:lnTo>
                    <a:pt x="273392" y="111402"/>
                  </a:lnTo>
                  <a:lnTo>
                    <a:pt x="218175" y="112885"/>
                  </a:lnTo>
                  <a:lnTo>
                    <a:pt x="213243" y="133580"/>
                  </a:lnTo>
                  <a:lnTo>
                    <a:pt x="196966" y="140478"/>
                  </a:lnTo>
                  <a:lnTo>
                    <a:pt x="163442" y="140478"/>
                  </a:lnTo>
                  <a:lnTo>
                    <a:pt x="1089" y="201655"/>
                  </a:lnTo>
                  <a:lnTo>
                    <a:pt x="17760" y="262984"/>
                  </a:lnTo>
                  <a:lnTo>
                    <a:pt x="6657" y="281470"/>
                  </a:lnTo>
                  <a:lnTo>
                    <a:pt x="31799" y="292574"/>
                  </a:lnTo>
                  <a:lnTo>
                    <a:pt x="41420" y="322891"/>
                  </a:lnTo>
                  <a:lnTo>
                    <a:pt x="13313" y="323617"/>
                  </a:lnTo>
                  <a:lnTo>
                    <a:pt x="0" y="348033"/>
                  </a:lnTo>
                  <a:lnTo>
                    <a:pt x="18486" y="443430"/>
                  </a:lnTo>
                  <a:lnTo>
                    <a:pt x="42903" y="445639"/>
                  </a:lnTo>
                  <a:lnTo>
                    <a:pt x="39212" y="484094"/>
                  </a:lnTo>
                  <a:lnTo>
                    <a:pt x="47351" y="521067"/>
                  </a:lnTo>
                  <a:lnTo>
                    <a:pt x="28138" y="558766"/>
                  </a:lnTo>
                  <a:lnTo>
                    <a:pt x="59937" y="555074"/>
                  </a:lnTo>
                  <a:lnTo>
                    <a:pt x="61420" y="572078"/>
                  </a:lnTo>
                  <a:lnTo>
                    <a:pt x="35551" y="595012"/>
                  </a:lnTo>
                  <a:lnTo>
                    <a:pt x="28955" y="690076"/>
                  </a:lnTo>
                  <a:lnTo>
                    <a:pt x="67350" y="718487"/>
                  </a:lnTo>
                  <a:lnTo>
                    <a:pt x="111009" y="701483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Полилиния: фигура 16">
              <a:extLst>
                <a:ext uri="{FF2B5EF4-FFF2-40B4-BE49-F238E27FC236}">
                  <a16:creationId xmlns:a16="http://schemas.microsoft.com/office/drawing/2014/main" xmlns="" id="{3A9E6EC2-7BA1-4DD7-A5BE-6DF31A219E42}"/>
                </a:ext>
              </a:extLst>
            </p:cNvPr>
            <p:cNvSpPr/>
            <p:nvPr/>
          </p:nvSpPr>
          <p:spPr>
            <a:xfrm>
              <a:off x="4414306" y="1269204"/>
              <a:ext cx="1228389" cy="807832"/>
            </a:xfrm>
            <a:custGeom>
              <a:avLst/>
              <a:gdLst>
                <a:gd name="connsiteX0" fmla="*/ 455532 w 1228388"/>
                <a:gd name="connsiteY0" fmla="*/ 703964 h 807832"/>
                <a:gd name="connsiteX1" fmla="*/ 485092 w 1228388"/>
                <a:gd name="connsiteY1" fmla="*/ 677611 h 807832"/>
                <a:gd name="connsiteX2" fmla="*/ 541308 w 1228388"/>
                <a:gd name="connsiteY2" fmla="*/ 671923 h 807832"/>
                <a:gd name="connsiteX3" fmla="*/ 533926 w 1228388"/>
                <a:gd name="connsiteY3" fmla="*/ 788287 h 807832"/>
                <a:gd name="connsiteX4" fmla="*/ 581246 w 1228388"/>
                <a:gd name="connsiteY4" fmla="*/ 808982 h 807832"/>
                <a:gd name="connsiteX5" fmla="*/ 636463 w 1228388"/>
                <a:gd name="connsiteY5" fmla="*/ 749832 h 807832"/>
                <a:gd name="connsiteX6" fmla="*/ 668988 w 1228388"/>
                <a:gd name="connsiteY6" fmla="*/ 782357 h 807832"/>
                <a:gd name="connsiteX7" fmla="*/ 791252 w 1228388"/>
                <a:gd name="connsiteY7" fmla="*/ 751798 h 807832"/>
                <a:gd name="connsiteX8" fmla="*/ 793219 w 1228388"/>
                <a:gd name="connsiteY8" fmla="*/ 698548 h 807832"/>
                <a:gd name="connsiteX9" fmla="*/ 820842 w 1228388"/>
                <a:gd name="connsiteY9" fmla="*/ 682784 h 807832"/>
                <a:gd name="connsiteX10" fmla="*/ 826742 w 1228388"/>
                <a:gd name="connsiteY10" fmla="*/ 651228 h 807832"/>
                <a:gd name="connsiteX11" fmla="*/ 856332 w 1228388"/>
                <a:gd name="connsiteY11" fmla="*/ 643331 h 807832"/>
                <a:gd name="connsiteX12" fmla="*/ 866196 w 1228388"/>
                <a:gd name="connsiteY12" fmla="*/ 615738 h 807832"/>
                <a:gd name="connsiteX13" fmla="*/ 925346 w 1228388"/>
                <a:gd name="connsiteY13" fmla="*/ 614739 h 807832"/>
                <a:gd name="connsiteX14" fmla="*/ 927313 w 1228388"/>
                <a:gd name="connsiteY14" fmla="*/ 670955 h 807832"/>
                <a:gd name="connsiteX15" fmla="*/ 979565 w 1228388"/>
                <a:gd name="connsiteY15" fmla="*/ 667989 h 807832"/>
                <a:gd name="connsiteX16" fmla="*/ 985495 w 1228388"/>
                <a:gd name="connsiteY16" fmla="*/ 640396 h 807832"/>
                <a:gd name="connsiteX17" fmla="*/ 1010153 w 1228388"/>
                <a:gd name="connsiteY17" fmla="*/ 644329 h 807832"/>
                <a:gd name="connsiteX18" fmla="*/ 1029850 w 1228388"/>
                <a:gd name="connsiteY18" fmla="*/ 608839 h 807832"/>
                <a:gd name="connsiteX19" fmla="*/ 1157046 w 1228388"/>
                <a:gd name="connsiteY19" fmla="*/ 486575 h 807832"/>
                <a:gd name="connsiteX20" fmla="*/ 1110693 w 1228388"/>
                <a:gd name="connsiteY20" fmla="*/ 471780 h 807832"/>
                <a:gd name="connsiteX21" fmla="*/ 1117622 w 1228388"/>
                <a:gd name="connsiteY21" fmla="*/ 454020 h 807832"/>
                <a:gd name="connsiteX22" fmla="*/ 1155079 w 1228388"/>
                <a:gd name="connsiteY22" fmla="*/ 449088 h 807832"/>
                <a:gd name="connsiteX23" fmla="*/ 1193534 w 1228388"/>
                <a:gd name="connsiteY23" fmla="*/ 402766 h 807832"/>
                <a:gd name="connsiteX24" fmla="*/ 1229024 w 1228388"/>
                <a:gd name="connsiteY24" fmla="*/ 389938 h 807832"/>
                <a:gd name="connsiteX25" fmla="*/ 1199434 w 1228388"/>
                <a:gd name="connsiteY25" fmla="*/ 368244 h 807832"/>
                <a:gd name="connsiteX26" fmla="*/ 1163944 w 1228388"/>
                <a:gd name="connsiteY26" fmla="*/ 366278 h 807832"/>
                <a:gd name="connsiteX27" fmla="*/ 1161977 w 1228388"/>
                <a:gd name="connsiteY27" fmla="*/ 335719 h 807832"/>
                <a:gd name="connsiteX28" fmla="*/ 1181704 w 1228388"/>
                <a:gd name="connsiteY28" fmla="*/ 307128 h 807832"/>
                <a:gd name="connsiteX29" fmla="*/ 1143551 w 1228388"/>
                <a:gd name="connsiteY29" fmla="*/ 175968 h 807832"/>
                <a:gd name="connsiteX30" fmla="*/ 1098863 w 1228388"/>
                <a:gd name="connsiteY30" fmla="*/ 175242 h 807832"/>
                <a:gd name="connsiteX31" fmla="*/ 1075960 w 1228388"/>
                <a:gd name="connsiteY31" fmla="*/ 153065 h 807832"/>
                <a:gd name="connsiteX32" fmla="*/ 1013088 w 1228388"/>
                <a:gd name="connsiteY32" fmla="*/ 155273 h 807832"/>
                <a:gd name="connsiteX33" fmla="*/ 996084 w 1228388"/>
                <a:gd name="connsiteY33" fmla="*/ 93914 h 807832"/>
                <a:gd name="connsiteX34" fmla="*/ 934725 w 1228388"/>
                <a:gd name="connsiteY34" fmla="*/ 111644 h 807832"/>
                <a:gd name="connsiteX35" fmla="*/ 922895 w 1228388"/>
                <a:gd name="connsiteY35" fmla="*/ 140478 h 807832"/>
                <a:gd name="connsiteX36" fmla="*/ 846711 w 1228388"/>
                <a:gd name="connsiteY36" fmla="*/ 137543 h 807832"/>
                <a:gd name="connsiteX37" fmla="*/ 848193 w 1228388"/>
                <a:gd name="connsiteY37" fmla="*/ 74672 h 807832"/>
                <a:gd name="connsiteX38" fmla="*/ 809012 w 1228388"/>
                <a:gd name="connsiteY38" fmla="*/ 46564 h 807832"/>
                <a:gd name="connsiteX39" fmla="*/ 770557 w 1228388"/>
                <a:gd name="connsiteY39" fmla="*/ 72463 h 807832"/>
                <a:gd name="connsiteX40" fmla="*/ 735036 w 1228388"/>
                <a:gd name="connsiteY40" fmla="*/ 45112 h 807832"/>
                <a:gd name="connsiteX41" fmla="*/ 682542 w 1228388"/>
                <a:gd name="connsiteY41" fmla="*/ 54703 h 807832"/>
                <a:gd name="connsiteX42" fmla="*/ 670713 w 1228388"/>
                <a:gd name="connsiteY42" fmla="*/ 88741 h 807832"/>
                <a:gd name="connsiteX43" fmla="*/ 624875 w 1228388"/>
                <a:gd name="connsiteY43" fmla="*/ 68015 h 807832"/>
                <a:gd name="connsiteX44" fmla="*/ 621183 w 1228388"/>
                <a:gd name="connsiteY44" fmla="*/ 39181 h 807832"/>
                <a:gd name="connsiteX45" fmla="*/ 588628 w 1228388"/>
                <a:gd name="connsiteY45" fmla="*/ 36973 h 807832"/>
                <a:gd name="connsiteX46" fmla="*/ 569416 w 1228388"/>
                <a:gd name="connsiteY46" fmla="*/ 0 h 807832"/>
                <a:gd name="connsiteX47" fmla="*/ 528722 w 1228388"/>
                <a:gd name="connsiteY47" fmla="*/ 15521 h 807832"/>
                <a:gd name="connsiteX48" fmla="*/ 516165 w 1228388"/>
                <a:gd name="connsiteY48" fmla="*/ 51011 h 807832"/>
                <a:gd name="connsiteX49" fmla="*/ 492505 w 1228388"/>
                <a:gd name="connsiteY49" fmla="*/ 15521 h 807832"/>
                <a:gd name="connsiteX50" fmla="*/ 451085 w 1228388"/>
                <a:gd name="connsiteY50" fmla="*/ 25143 h 807832"/>
                <a:gd name="connsiteX51" fmla="*/ 408213 w 1228388"/>
                <a:gd name="connsiteY51" fmla="*/ 85775 h 807832"/>
                <a:gd name="connsiteX52" fmla="*/ 470328 w 1228388"/>
                <a:gd name="connsiteY52" fmla="*/ 160447 h 807832"/>
                <a:gd name="connsiteX53" fmla="*/ 456259 w 1228388"/>
                <a:gd name="connsiteY53" fmla="*/ 182655 h 807832"/>
                <a:gd name="connsiteX54" fmla="*/ 466606 w 1228388"/>
                <a:gd name="connsiteY54" fmla="*/ 215180 h 807832"/>
                <a:gd name="connsiteX55" fmla="*/ 379348 w 1228388"/>
                <a:gd name="connsiteY55" fmla="*/ 281743 h 807832"/>
                <a:gd name="connsiteX56" fmla="*/ 391935 w 1228388"/>
                <a:gd name="connsiteY56" fmla="*/ 316477 h 807832"/>
                <a:gd name="connsiteX57" fmla="*/ 360862 w 1228388"/>
                <a:gd name="connsiteY57" fmla="*/ 351997 h 807832"/>
                <a:gd name="connsiteX58" fmla="*/ 306886 w 1228388"/>
                <a:gd name="connsiteY58" fmla="*/ 312785 h 807832"/>
                <a:gd name="connsiteX59" fmla="*/ 277326 w 1228388"/>
                <a:gd name="connsiteY59" fmla="*/ 327581 h 807832"/>
                <a:gd name="connsiteX60" fmla="*/ 278052 w 1228388"/>
                <a:gd name="connsiteY60" fmla="*/ 365310 h 807832"/>
                <a:gd name="connsiteX61" fmla="*/ 173790 w 1228388"/>
                <a:gd name="connsiteY61" fmla="*/ 359379 h 807832"/>
                <a:gd name="connsiteX62" fmla="*/ 163442 w 1228388"/>
                <a:gd name="connsiteY62" fmla="*/ 332754 h 807832"/>
                <a:gd name="connsiteX63" fmla="*/ 119813 w 1228388"/>
                <a:gd name="connsiteY63" fmla="*/ 349758 h 807832"/>
                <a:gd name="connsiteX64" fmla="*/ 81419 w 1228388"/>
                <a:gd name="connsiteY64" fmla="*/ 321348 h 807832"/>
                <a:gd name="connsiteX65" fmla="*/ 77637 w 1228388"/>
                <a:gd name="connsiteY65" fmla="*/ 375657 h 807832"/>
                <a:gd name="connsiteX66" fmla="*/ 50285 w 1228388"/>
                <a:gd name="connsiteY66" fmla="*/ 411873 h 807832"/>
                <a:gd name="connsiteX67" fmla="*/ 43629 w 1228388"/>
                <a:gd name="connsiteY67" fmla="*/ 453294 h 807832"/>
                <a:gd name="connsiteX68" fmla="*/ 5174 w 1228388"/>
                <a:gd name="connsiteY68" fmla="*/ 464398 h 807832"/>
                <a:gd name="connsiteX69" fmla="*/ 0 w 1228388"/>
                <a:gd name="connsiteY69" fmla="*/ 480645 h 807832"/>
                <a:gd name="connsiteX70" fmla="*/ 27351 w 1228388"/>
                <a:gd name="connsiteY70" fmla="*/ 491749 h 807832"/>
                <a:gd name="connsiteX71" fmla="*/ 756 w 1228388"/>
                <a:gd name="connsiteY71" fmla="*/ 598976 h 807832"/>
                <a:gd name="connsiteX72" fmla="*/ 26625 w 1228388"/>
                <a:gd name="connsiteY72" fmla="*/ 623362 h 807832"/>
                <a:gd name="connsiteX73" fmla="*/ 38455 w 1228388"/>
                <a:gd name="connsiteY73" fmla="*/ 684025 h 807832"/>
                <a:gd name="connsiteX74" fmla="*/ 60633 w 1228388"/>
                <a:gd name="connsiteY74" fmla="*/ 684025 h 807832"/>
                <a:gd name="connsiteX75" fmla="*/ 87258 w 1228388"/>
                <a:gd name="connsiteY75" fmla="*/ 647052 h 807832"/>
                <a:gd name="connsiteX76" fmla="*/ 131643 w 1228388"/>
                <a:gd name="connsiteY76" fmla="*/ 672921 h 807832"/>
                <a:gd name="connsiteX77" fmla="*/ 146408 w 1228388"/>
                <a:gd name="connsiteY77" fmla="*/ 695099 h 807832"/>
                <a:gd name="connsiteX78" fmla="*/ 210006 w 1228388"/>
                <a:gd name="connsiteY78" fmla="*/ 712859 h 807832"/>
                <a:gd name="connsiteX79" fmla="*/ 240323 w 1228388"/>
                <a:gd name="connsiteY79" fmla="*/ 698064 h 807832"/>
                <a:gd name="connsiteX80" fmla="*/ 249218 w 1228388"/>
                <a:gd name="connsiteY80" fmla="*/ 732828 h 807832"/>
                <a:gd name="connsiteX81" fmla="*/ 233696 w 1228388"/>
                <a:gd name="connsiteY81" fmla="*/ 759453 h 807832"/>
                <a:gd name="connsiteX82" fmla="*/ 256600 w 1228388"/>
                <a:gd name="connsiteY82" fmla="*/ 768318 h 807832"/>
                <a:gd name="connsiteX83" fmla="*/ 334993 w 1228388"/>
                <a:gd name="connsiteY83" fmla="*/ 739484 h 807832"/>
                <a:gd name="connsiteX84" fmla="*/ 364583 w 1228388"/>
                <a:gd name="connsiteY84" fmla="*/ 738001 h 807832"/>
                <a:gd name="connsiteX85" fmla="*/ 380831 w 1228388"/>
                <a:gd name="connsiteY85" fmla="*/ 714342 h 807832"/>
                <a:gd name="connsiteX86" fmla="*/ 405308 w 1228388"/>
                <a:gd name="connsiteY86" fmla="*/ 726867 h 807832"/>
                <a:gd name="connsiteX87" fmla="*/ 410663 w 1228388"/>
                <a:gd name="connsiteY87" fmla="*/ 703722 h 807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228388" h="807832">
                  <a:moveTo>
                    <a:pt x="455532" y="703964"/>
                  </a:moveTo>
                  <a:lnTo>
                    <a:pt x="485092" y="677611"/>
                  </a:lnTo>
                  <a:lnTo>
                    <a:pt x="541308" y="671923"/>
                  </a:lnTo>
                  <a:lnTo>
                    <a:pt x="533926" y="788287"/>
                  </a:lnTo>
                  <a:lnTo>
                    <a:pt x="581246" y="808982"/>
                  </a:lnTo>
                  <a:lnTo>
                    <a:pt x="636463" y="749832"/>
                  </a:lnTo>
                  <a:lnTo>
                    <a:pt x="668988" y="782357"/>
                  </a:lnTo>
                  <a:lnTo>
                    <a:pt x="791252" y="751798"/>
                  </a:lnTo>
                  <a:lnTo>
                    <a:pt x="793219" y="698548"/>
                  </a:lnTo>
                  <a:lnTo>
                    <a:pt x="820842" y="682784"/>
                  </a:lnTo>
                  <a:lnTo>
                    <a:pt x="826742" y="651228"/>
                  </a:lnTo>
                  <a:lnTo>
                    <a:pt x="856332" y="643331"/>
                  </a:lnTo>
                  <a:lnTo>
                    <a:pt x="866196" y="615738"/>
                  </a:lnTo>
                  <a:lnTo>
                    <a:pt x="925346" y="614739"/>
                  </a:lnTo>
                  <a:lnTo>
                    <a:pt x="927313" y="670955"/>
                  </a:lnTo>
                  <a:lnTo>
                    <a:pt x="979565" y="667989"/>
                  </a:lnTo>
                  <a:lnTo>
                    <a:pt x="985495" y="640396"/>
                  </a:lnTo>
                  <a:lnTo>
                    <a:pt x="1010153" y="644329"/>
                  </a:lnTo>
                  <a:lnTo>
                    <a:pt x="1029850" y="608839"/>
                  </a:lnTo>
                  <a:lnTo>
                    <a:pt x="1157046" y="486575"/>
                  </a:lnTo>
                  <a:lnTo>
                    <a:pt x="1110693" y="471780"/>
                  </a:lnTo>
                  <a:lnTo>
                    <a:pt x="1117622" y="454020"/>
                  </a:lnTo>
                  <a:lnTo>
                    <a:pt x="1155079" y="449088"/>
                  </a:lnTo>
                  <a:lnTo>
                    <a:pt x="1193534" y="402766"/>
                  </a:lnTo>
                  <a:lnTo>
                    <a:pt x="1229024" y="389938"/>
                  </a:lnTo>
                  <a:lnTo>
                    <a:pt x="1199434" y="368244"/>
                  </a:lnTo>
                  <a:lnTo>
                    <a:pt x="1163944" y="366278"/>
                  </a:lnTo>
                  <a:lnTo>
                    <a:pt x="1161977" y="335719"/>
                  </a:lnTo>
                  <a:lnTo>
                    <a:pt x="1181704" y="307128"/>
                  </a:lnTo>
                  <a:lnTo>
                    <a:pt x="1143551" y="175968"/>
                  </a:lnTo>
                  <a:lnTo>
                    <a:pt x="1098863" y="175242"/>
                  </a:lnTo>
                  <a:lnTo>
                    <a:pt x="1075960" y="153065"/>
                  </a:lnTo>
                  <a:lnTo>
                    <a:pt x="1013088" y="155273"/>
                  </a:lnTo>
                  <a:lnTo>
                    <a:pt x="996084" y="93914"/>
                  </a:lnTo>
                  <a:lnTo>
                    <a:pt x="934725" y="111644"/>
                  </a:lnTo>
                  <a:lnTo>
                    <a:pt x="922895" y="140478"/>
                  </a:lnTo>
                  <a:lnTo>
                    <a:pt x="846711" y="137543"/>
                  </a:lnTo>
                  <a:lnTo>
                    <a:pt x="848193" y="74672"/>
                  </a:lnTo>
                  <a:lnTo>
                    <a:pt x="809012" y="46564"/>
                  </a:lnTo>
                  <a:lnTo>
                    <a:pt x="770557" y="72463"/>
                  </a:lnTo>
                  <a:lnTo>
                    <a:pt x="735036" y="45112"/>
                  </a:lnTo>
                  <a:lnTo>
                    <a:pt x="682542" y="54703"/>
                  </a:lnTo>
                  <a:lnTo>
                    <a:pt x="670713" y="88741"/>
                  </a:lnTo>
                  <a:lnTo>
                    <a:pt x="624875" y="68015"/>
                  </a:lnTo>
                  <a:lnTo>
                    <a:pt x="621183" y="39181"/>
                  </a:lnTo>
                  <a:lnTo>
                    <a:pt x="588628" y="36973"/>
                  </a:lnTo>
                  <a:lnTo>
                    <a:pt x="569416" y="0"/>
                  </a:lnTo>
                  <a:lnTo>
                    <a:pt x="528722" y="15521"/>
                  </a:lnTo>
                  <a:lnTo>
                    <a:pt x="516165" y="51011"/>
                  </a:lnTo>
                  <a:lnTo>
                    <a:pt x="492505" y="15521"/>
                  </a:lnTo>
                  <a:lnTo>
                    <a:pt x="451085" y="25143"/>
                  </a:lnTo>
                  <a:lnTo>
                    <a:pt x="408213" y="85775"/>
                  </a:lnTo>
                  <a:lnTo>
                    <a:pt x="470328" y="160447"/>
                  </a:lnTo>
                  <a:lnTo>
                    <a:pt x="456259" y="182655"/>
                  </a:lnTo>
                  <a:lnTo>
                    <a:pt x="466606" y="215180"/>
                  </a:lnTo>
                  <a:lnTo>
                    <a:pt x="379348" y="281743"/>
                  </a:lnTo>
                  <a:lnTo>
                    <a:pt x="391935" y="316477"/>
                  </a:lnTo>
                  <a:lnTo>
                    <a:pt x="360862" y="351997"/>
                  </a:lnTo>
                  <a:lnTo>
                    <a:pt x="306886" y="312785"/>
                  </a:lnTo>
                  <a:lnTo>
                    <a:pt x="277326" y="327581"/>
                  </a:lnTo>
                  <a:lnTo>
                    <a:pt x="278052" y="365310"/>
                  </a:lnTo>
                  <a:lnTo>
                    <a:pt x="173790" y="359379"/>
                  </a:lnTo>
                  <a:lnTo>
                    <a:pt x="163442" y="332754"/>
                  </a:lnTo>
                  <a:lnTo>
                    <a:pt x="119813" y="349758"/>
                  </a:lnTo>
                  <a:lnTo>
                    <a:pt x="81419" y="321348"/>
                  </a:lnTo>
                  <a:lnTo>
                    <a:pt x="77637" y="375657"/>
                  </a:lnTo>
                  <a:lnTo>
                    <a:pt x="50285" y="411873"/>
                  </a:lnTo>
                  <a:lnTo>
                    <a:pt x="43629" y="453294"/>
                  </a:lnTo>
                  <a:lnTo>
                    <a:pt x="5174" y="464398"/>
                  </a:lnTo>
                  <a:lnTo>
                    <a:pt x="0" y="480645"/>
                  </a:lnTo>
                  <a:lnTo>
                    <a:pt x="27351" y="491749"/>
                  </a:lnTo>
                  <a:lnTo>
                    <a:pt x="756" y="598976"/>
                  </a:lnTo>
                  <a:lnTo>
                    <a:pt x="26625" y="623362"/>
                  </a:lnTo>
                  <a:lnTo>
                    <a:pt x="38455" y="684025"/>
                  </a:lnTo>
                  <a:lnTo>
                    <a:pt x="60633" y="684025"/>
                  </a:lnTo>
                  <a:lnTo>
                    <a:pt x="87258" y="647052"/>
                  </a:lnTo>
                  <a:lnTo>
                    <a:pt x="131643" y="672921"/>
                  </a:lnTo>
                  <a:lnTo>
                    <a:pt x="146408" y="695099"/>
                  </a:lnTo>
                  <a:lnTo>
                    <a:pt x="210006" y="712859"/>
                  </a:lnTo>
                  <a:lnTo>
                    <a:pt x="240323" y="698064"/>
                  </a:lnTo>
                  <a:lnTo>
                    <a:pt x="249218" y="732828"/>
                  </a:lnTo>
                  <a:lnTo>
                    <a:pt x="233696" y="759453"/>
                  </a:lnTo>
                  <a:lnTo>
                    <a:pt x="256600" y="768318"/>
                  </a:lnTo>
                  <a:lnTo>
                    <a:pt x="334993" y="739484"/>
                  </a:lnTo>
                  <a:lnTo>
                    <a:pt x="364583" y="738001"/>
                  </a:lnTo>
                  <a:lnTo>
                    <a:pt x="380831" y="714342"/>
                  </a:lnTo>
                  <a:lnTo>
                    <a:pt x="405308" y="726867"/>
                  </a:lnTo>
                  <a:lnTo>
                    <a:pt x="410663" y="70372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302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Полилиния: фигура 17">
              <a:extLst>
                <a:ext uri="{FF2B5EF4-FFF2-40B4-BE49-F238E27FC236}">
                  <a16:creationId xmlns:a16="http://schemas.microsoft.com/office/drawing/2014/main" xmlns="" id="{CE6C53E1-91C7-4BFF-9C00-14CE0ACA3DF2}"/>
                </a:ext>
              </a:extLst>
            </p:cNvPr>
            <p:cNvSpPr/>
            <p:nvPr/>
          </p:nvSpPr>
          <p:spPr>
            <a:xfrm>
              <a:off x="5447938" y="968632"/>
              <a:ext cx="913728" cy="1022649"/>
            </a:xfrm>
            <a:custGeom>
              <a:avLst/>
              <a:gdLst>
                <a:gd name="connsiteX0" fmla="*/ 207223 w 913727"/>
                <a:gd name="connsiteY0" fmla="*/ 845571 h 1022648"/>
                <a:gd name="connsiteX1" fmla="*/ 192427 w 913727"/>
                <a:gd name="connsiteY1" fmla="*/ 880335 h 1022648"/>
                <a:gd name="connsiteX2" fmla="*/ 285616 w 913727"/>
                <a:gd name="connsiteY2" fmla="*/ 872196 h 1022648"/>
                <a:gd name="connsiteX3" fmla="*/ 366217 w 913727"/>
                <a:gd name="connsiteY3" fmla="*/ 949833 h 1022648"/>
                <a:gd name="connsiteX4" fmla="*/ 335901 w 913727"/>
                <a:gd name="connsiteY4" fmla="*/ 978666 h 1022648"/>
                <a:gd name="connsiteX5" fmla="*/ 349214 w 913727"/>
                <a:gd name="connsiteY5" fmla="*/ 1023778 h 1022648"/>
                <a:gd name="connsiteX6" fmla="*/ 414294 w 913727"/>
                <a:gd name="connsiteY6" fmla="*/ 959454 h 1022648"/>
                <a:gd name="connsiteX7" fmla="*/ 584362 w 913727"/>
                <a:gd name="connsiteY7" fmla="*/ 903239 h 1022648"/>
                <a:gd name="connsiteX8" fmla="*/ 591018 w 913727"/>
                <a:gd name="connsiteY8" fmla="*/ 816707 h 1022648"/>
                <a:gd name="connsiteX9" fmla="*/ 692315 w 913727"/>
                <a:gd name="connsiteY9" fmla="*/ 833711 h 1022648"/>
                <a:gd name="connsiteX10" fmla="*/ 727079 w 913727"/>
                <a:gd name="connsiteY10" fmla="*/ 895100 h 1022648"/>
                <a:gd name="connsiteX11" fmla="*/ 785503 w 913727"/>
                <a:gd name="connsiteY11" fmla="*/ 932072 h 1022648"/>
                <a:gd name="connsiteX12" fmla="*/ 863140 w 913727"/>
                <a:gd name="connsiteY12" fmla="*/ 897308 h 1022648"/>
                <a:gd name="connsiteX13" fmla="*/ 869796 w 913727"/>
                <a:gd name="connsiteY13" fmla="*/ 862544 h 1022648"/>
                <a:gd name="connsiteX14" fmla="*/ 851310 w 913727"/>
                <a:gd name="connsiteY14" fmla="*/ 759009 h 1022648"/>
                <a:gd name="connsiteX15" fmla="*/ 816546 w 913727"/>
                <a:gd name="connsiteY15" fmla="*/ 686546 h 1022648"/>
                <a:gd name="connsiteX16" fmla="*/ 828376 w 913727"/>
                <a:gd name="connsiteY16" fmla="*/ 648091 h 1022648"/>
                <a:gd name="connsiteX17" fmla="*/ 913758 w 913727"/>
                <a:gd name="connsiteY17" fmla="*/ 581619 h 1022648"/>
                <a:gd name="connsiteX18" fmla="*/ 867557 w 913727"/>
                <a:gd name="connsiteY18" fmla="*/ 525343 h 1022648"/>
                <a:gd name="connsiteX19" fmla="*/ 593711 w 913727"/>
                <a:gd name="connsiteY19" fmla="*/ 228563 h 1022648"/>
                <a:gd name="connsiteX20" fmla="*/ 385672 w 913727"/>
                <a:gd name="connsiteY20" fmla="*/ 106783 h 1022648"/>
                <a:gd name="connsiteX21" fmla="*/ 370393 w 913727"/>
                <a:gd name="connsiteY21" fmla="*/ 80158 h 1022648"/>
                <a:gd name="connsiteX22" fmla="*/ 384189 w 913727"/>
                <a:gd name="connsiteY22" fmla="*/ 80158 h 1022648"/>
                <a:gd name="connsiteX23" fmla="*/ 403916 w 913727"/>
                <a:gd name="connsiteY23" fmla="*/ 68812 h 1022648"/>
                <a:gd name="connsiteX24" fmla="*/ 407849 w 913727"/>
                <a:gd name="connsiteY24" fmla="*/ 52050 h 1022648"/>
                <a:gd name="connsiteX25" fmla="*/ 410300 w 913727"/>
                <a:gd name="connsiteY25" fmla="*/ 34804 h 1022648"/>
                <a:gd name="connsiteX26" fmla="*/ 402403 w 913727"/>
                <a:gd name="connsiteY26" fmla="*/ 20009 h 1022648"/>
                <a:gd name="connsiteX27" fmla="*/ 411783 w 913727"/>
                <a:gd name="connsiteY27" fmla="*/ 1765 h 1022648"/>
                <a:gd name="connsiteX28" fmla="*/ 382192 w 913727"/>
                <a:gd name="connsiteY28" fmla="*/ 12112 h 1022648"/>
                <a:gd name="connsiteX29" fmla="*/ 381194 w 913727"/>
                <a:gd name="connsiteY29" fmla="*/ 30840 h 1022648"/>
                <a:gd name="connsiteX30" fmla="*/ 360499 w 913727"/>
                <a:gd name="connsiteY30" fmla="*/ 42186 h 1022648"/>
                <a:gd name="connsiteX31" fmla="*/ 349153 w 913727"/>
                <a:gd name="connsiteY31" fmla="*/ 36771 h 1022648"/>
                <a:gd name="connsiteX32" fmla="*/ 326461 w 913727"/>
                <a:gd name="connsiteY32" fmla="*/ 39736 h 1022648"/>
                <a:gd name="connsiteX33" fmla="*/ 326461 w 913727"/>
                <a:gd name="connsiteY33" fmla="*/ 56497 h 1022648"/>
                <a:gd name="connsiteX34" fmla="*/ 303285 w 913727"/>
                <a:gd name="connsiteY34" fmla="*/ 75226 h 1022648"/>
                <a:gd name="connsiteX35" fmla="*/ 259898 w 913727"/>
                <a:gd name="connsiteY35" fmla="*/ 103333 h 1022648"/>
                <a:gd name="connsiteX36" fmla="*/ 233757 w 913727"/>
                <a:gd name="connsiteY36" fmla="*/ 123060 h 1022648"/>
                <a:gd name="connsiteX37" fmla="*/ 247553 w 913727"/>
                <a:gd name="connsiteY37" fmla="*/ 142273 h 1022648"/>
                <a:gd name="connsiteX38" fmla="*/ 226344 w 913727"/>
                <a:gd name="connsiteY38" fmla="*/ 165449 h 1022648"/>
                <a:gd name="connsiteX39" fmla="*/ 201202 w 913727"/>
                <a:gd name="connsiteY39" fmla="*/ 183693 h 1022648"/>
                <a:gd name="connsiteX40" fmla="*/ 173608 w 913727"/>
                <a:gd name="connsiteY40" fmla="*/ 183209 h 1022648"/>
                <a:gd name="connsiteX41" fmla="*/ 172126 w 913727"/>
                <a:gd name="connsiteY41" fmla="*/ 203904 h 1022648"/>
                <a:gd name="connsiteX42" fmla="*/ 159297 w 913727"/>
                <a:gd name="connsiteY42" fmla="*/ 205387 h 1022648"/>
                <a:gd name="connsiteX43" fmla="*/ 157815 w 913727"/>
                <a:gd name="connsiteY43" fmla="*/ 222148 h 1022648"/>
                <a:gd name="connsiteX44" fmla="*/ 135123 w 913727"/>
                <a:gd name="connsiteY44" fmla="*/ 221150 h 1022648"/>
                <a:gd name="connsiteX45" fmla="*/ 133640 w 913727"/>
                <a:gd name="connsiteY45" fmla="*/ 235461 h 1022648"/>
                <a:gd name="connsiteX46" fmla="*/ 145470 w 913727"/>
                <a:gd name="connsiteY46" fmla="*/ 242843 h 1022648"/>
                <a:gd name="connsiteX47" fmla="*/ 139540 w 913727"/>
                <a:gd name="connsiteY47" fmla="*/ 254189 h 1022648"/>
                <a:gd name="connsiteX48" fmla="*/ 135607 w 913727"/>
                <a:gd name="connsiteY48" fmla="*/ 275399 h 1022648"/>
                <a:gd name="connsiteX49" fmla="*/ 122778 w 913727"/>
                <a:gd name="connsiteY49" fmla="*/ 272434 h 1022648"/>
                <a:gd name="connsiteX50" fmla="*/ 120812 w 913727"/>
                <a:gd name="connsiteY50" fmla="*/ 253705 h 1022648"/>
                <a:gd name="connsiteX51" fmla="*/ 107983 w 913727"/>
                <a:gd name="connsiteY51" fmla="*/ 249772 h 1022648"/>
                <a:gd name="connsiteX52" fmla="*/ 92704 w 913727"/>
                <a:gd name="connsiteY52" fmla="*/ 256670 h 1022648"/>
                <a:gd name="connsiteX53" fmla="*/ 89255 w 913727"/>
                <a:gd name="connsiteY53" fmla="*/ 243358 h 1022648"/>
                <a:gd name="connsiteX54" fmla="*/ 68045 w 913727"/>
                <a:gd name="connsiteY54" fmla="*/ 244356 h 1022648"/>
                <a:gd name="connsiteX55" fmla="*/ 55217 w 913727"/>
                <a:gd name="connsiteY55" fmla="*/ 261118 h 1022648"/>
                <a:gd name="connsiteX56" fmla="*/ 39454 w 913727"/>
                <a:gd name="connsiteY56" fmla="*/ 258153 h 1022648"/>
                <a:gd name="connsiteX57" fmla="*/ 19243 w 913727"/>
                <a:gd name="connsiteY57" fmla="*/ 293643 h 1022648"/>
                <a:gd name="connsiteX58" fmla="*/ 18910 w 913727"/>
                <a:gd name="connsiteY58" fmla="*/ 293764 h 1022648"/>
                <a:gd name="connsiteX59" fmla="*/ 23660 w 913727"/>
                <a:gd name="connsiteY59" fmla="*/ 321267 h 1022648"/>
                <a:gd name="connsiteX60" fmla="*/ 0 w 913727"/>
                <a:gd name="connsiteY60" fmla="*/ 329405 h 1022648"/>
                <a:gd name="connsiteX61" fmla="*/ 8139 w 913727"/>
                <a:gd name="connsiteY61" fmla="*/ 346409 h 1022648"/>
                <a:gd name="connsiteX62" fmla="*/ 34008 w 913727"/>
                <a:gd name="connsiteY62" fmla="*/ 337544 h 1022648"/>
                <a:gd name="connsiteX63" fmla="*/ 60633 w 913727"/>
                <a:gd name="connsiteY63" fmla="*/ 345683 h 1022648"/>
                <a:gd name="connsiteX64" fmla="*/ 32525 w 913727"/>
                <a:gd name="connsiteY64" fmla="*/ 377482 h 1022648"/>
                <a:gd name="connsiteX65" fmla="*/ 53976 w 913727"/>
                <a:gd name="connsiteY65" fmla="*/ 415181 h 1022648"/>
                <a:gd name="connsiteX66" fmla="*/ 82810 w 913727"/>
                <a:gd name="connsiteY66" fmla="*/ 395212 h 1022648"/>
                <a:gd name="connsiteX67" fmla="*/ 111644 w 913727"/>
                <a:gd name="connsiteY67" fmla="*/ 400386 h 1022648"/>
                <a:gd name="connsiteX68" fmla="*/ 116092 w 913727"/>
                <a:gd name="connsiteY68" fmla="*/ 421081 h 1022648"/>
                <a:gd name="connsiteX69" fmla="*/ 83567 w 913727"/>
                <a:gd name="connsiteY69" fmla="*/ 438841 h 1022648"/>
                <a:gd name="connsiteX70" fmla="*/ 111675 w 913727"/>
                <a:gd name="connsiteY70" fmla="*/ 476540 h 1022648"/>
                <a:gd name="connsiteX71" fmla="*/ 109768 w 913727"/>
                <a:gd name="connsiteY71" fmla="*/ 476510 h 1022648"/>
                <a:gd name="connsiteX72" fmla="*/ 147921 w 913727"/>
                <a:gd name="connsiteY72" fmla="*/ 607669 h 1022648"/>
                <a:gd name="connsiteX73" fmla="*/ 128194 w 913727"/>
                <a:gd name="connsiteY73" fmla="*/ 636261 h 1022648"/>
                <a:gd name="connsiteX74" fmla="*/ 130161 w 913727"/>
                <a:gd name="connsiteY74" fmla="*/ 666819 h 1022648"/>
                <a:gd name="connsiteX75" fmla="*/ 165651 w 913727"/>
                <a:gd name="connsiteY75" fmla="*/ 668786 h 1022648"/>
                <a:gd name="connsiteX76" fmla="*/ 195241 w 913727"/>
                <a:gd name="connsiteY76" fmla="*/ 690479 h 1022648"/>
                <a:gd name="connsiteX77" fmla="*/ 159751 w 913727"/>
                <a:gd name="connsiteY77" fmla="*/ 703308 h 1022648"/>
                <a:gd name="connsiteX78" fmla="*/ 125532 w 913727"/>
                <a:gd name="connsiteY78" fmla="*/ 744758 h 1022648"/>
                <a:gd name="connsiteX79" fmla="*/ 177632 w 913727"/>
                <a:gd name="connsiteY79" fmla="*/ 764969 h 1022648"/>
                <a:gd name="connsiteX80" fmla="*/ 207223 w 913727"/>
                <a:gd name="connsiteY80" fmla="*/ 845571 h 102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913727" h="1022648">
                  <a:moveTo>
                    <a:pt x="207223" y="845571"/>
                  </a:moveTo>
                  <a:lnTo>
                    <a:pt x="192427" y="880335"/>
                  </a:lnTo>
                  <a:lnTo>
                    <a:pt x="285616" y="872196"/>
                  </a:lnTo>
                  <a:lnTo>
                    <a:pt x="366217" y="949833"/>
                  </a:lnTo>
                  <a:lnTo>
                    <a:pt x="335901" y="978666"/>
                  </a:lnTo>
                  <a:lnTo>
                    <a:pt x="349214" y="1023778"/>
                  </a:lnTo>
                  <a:lnTo>
                    <a:pt x="414294" y="959454"/>
                  </a:lnTo>
                  <a:lnTo>
                    <a:pt x="584362" y="903239"/>
                  </a:lnTo>
                  <a:lnTo>
                    <a:pt x="591018" y="816707"/>
                  </a:lnTo>
                  <a:lnTo>
                    <a:pt x="692315" y="833711"/>
                  </a:lnTo>
                  <a:lnTo>
                    <a:pt x="727079" y="895100"/>
                  </a:lnTo>
                  <a:lnTo>
                    <a:pt x="785503" y="932072"/>
                  </a:lnTo>
                  <a:lnTo>
                    <a:pt x="863140" y="897308"/>
                  </a:lnTo>
                  <a:lnTo>
                    <a:pt x="869796" y="862544"/>
                  </a:lnTo>
                  <a:lnTo>
                    <a:pt x="851310" y="759009"/>
                  </a:lnTo>
                  <a:lnTo>
                    <a:pt x="816546" y="686546"/>
                  </a:lnTo>
                  <a:lnTo>
                    <a:pt x="828376" y="648091"/>
                  </a:lnTo>
                  <a:lnTo>
                    <a:pt x="913758" y="581619"/>
                  </a:lnTo>
                  <a:lnTo>
                    <a:pt x="867557" y="525343"/>
                  </a:lnTo>
                  <a:lnTo>
                    <a:pt x="593711" y="228563"/>
                  </a:lnTo>
                  <a:lnTo>
                    <a:pt x="385672" y="106783"/>
                  </a:lnTo>
                  <a:cubicBezTo>
                    <a:pt x="370604" y="88508"/>
                    <a:pt x="368668" y="82215"/>
                    <a:pt x="370393" y="80158"/>
                  </a:cubicBezTo>
                  <a:cubicBezTo>
                    <a:pt x="372026" y="78191"/>
                    <a:pt x="376141" y="81186"/>
                    <a:pt x="384189" y="80158"/>
                  </a:cubicBezTo>
                  <a:cubicBezTo>
                    <a:pt x="385430" y="80006"/>
                    <a:pt x="397895" y="78221"/>
                    <a:pt x="403916" y="68812"/>
                  </a:cubicBezTo>
                  <a:cubicBezTo>
                    <a:pt x="404854" y="67329"/>
                    <a:pt x="404914" y="66845"/>
                    <a:pt x="407849" y="52050"/>
                  </a:cubicBezTo>
                  <a:cubicBezTo>
                    <a:pt x="410572" y="38465"/>
                    <a:pt x="410845" y="37285"/>
                    <a:pt x="410300" y="34804"/>
                  </a:cubicBezTo>
                  <a:cubicBezTo>
                    <a:pt x="408576" y="26847"/>
                    <a:pt x="403008" y="26272"/>
                    <a:pt x="402403" y="20009"/>
                  </a:cubicBezTo>
                  <a:cubicBezTo>
                    <a:pt x="401495" y="10539"/>
                    <a:pt x="413477" y="4972"/>
                    <a:pt x="411783" y="1765"/>
                  </a:cubicBezTo>
                  <a:cubicBezTo>
                    <a:pt x="409634" y="-2290"/>
                    <a:pt x="387275" y="433"/>
                    <a:pt x="382192" y="12112"/>
                  </a:cubicBezTo>
                  <a:cubicBezTo>
                    <a:pt x="379197" y="19010"/>
                    <a:pt x="384734" y="23246"/>
                    <a:pt x="381194" y="30840"/>
                  </a:cubicBezTo>
                  <a:cubicBezTo>
                    <a:pt x="377775" y="38223"/>
                    <a:pt x="368305" y="43306"/>
                    <a:pt x="360499" y="42186"/>
                  </a:cubicBezTo>
                  <a:cubicBezTo>
                    <a:pt x="355567" y="41460"/>
                    <a:pt x="355507" y="38858"/>
                    <a:pt x="349153" y="36771"/>
                  </a:cubicBezTo>
                  <a:cubicBezTo>
                    <a:pt x="341528" y="34229"/>
                    <a:pt x="330334" y="34259"/>
                    <a:pt x="326461" y="39736"/>
                  </a:cubicBezTo>
                  <a:cubicBezTo>
                    <a:pt x="323133" y="44456"/>
                    <a:pt x="328155" y="49085"/>
                    <a:pt x="326461" y="56497"/>
                  </a:cubicBezTo>
                  <a:cubicBezTo>
                    <a:pt x="324585" y="64727"/>
                    <a:pt x="316265" y="68116"/>
                    <a:pt x="303285" y="75226"/>
                  </a:cubicBezTo>
                  <a:cubicBezTo>
                    <a:pt x="280956" y="87449"/>
                    <a:pt x="289640" y="86148"/>
                    <a:pt x="259898" y="103333"/>
                  </a:cubicBezTo>
                  <a:cubicBezTo>
                    <a:pt x="241623" y="113893"/>
                    <a:pt x="233818" y="117009"/>
                    <a:pt x="233757" y="123060"/>
                  </a:cubicBezTo>
                  <a:cubicBezTo>
                    <a:pt x="233666" y="131018"/>
                    <a:pt x="247100" y="133196"/>
                    <a:pt x="247553" y="142273"/>
                  </a:cubicBezTo>
                  <a:cubicBezTo>
                    <a:pt x="247735" y="145904"/>
                    <a:pt x="245768" y="148959"/>
                    <a:pt x="226344" y="165449"/>
                  </a:cubicBezTo>
                  <a:cubicBezTo>
                    <a:pt x="206769" y="182059"/>
                    <a:pt x="203925" y="183088"/>
                    <a:pt x="201202" y="183693"/>
                  </a:cubicBezTo>
                  <a:cubicBezTo>
                    <a:pt x="187496" y="186688"/>
                    <a:pt x="177965" y="178338"/>
                    <a:pt x="173608" y="183209"/>
                  </a:cubicBezTo>
                  <a:cubicBezTo>
                    <a:pt x="169100" y="188262"/>
                    <a:pt x="176967" y="199820"/>
                    <a:pt x="172126" y="203904"/>
                  </a:cubicBezTo>
                  <a:cubicBezTo>
                    <a:pt x="168586" y="206899"/>
                    <a:pt x="162656" y="202270"/>
                    <a:pt x="159297" y="205387"/>
                  </a:cubicBezTo>
                  <a:cubicBezTo>
                    <a:pt x="155183" y="209199"/>
                    <a:pt x="161536" y="218487"/>
                    <a:pt x="157815" y="222148"/>
                  </a:cubicBezTo>
                  <a:cubicBezTo>
                    <a:pt x="153397" y="226535"/>
                    <a:pt x="141295" y="216339"/>
                    <a:pt x="135123" y="221150"/>
                  </a:cubicBezTo>
                  <a:cubicBezTo>
                    <a:pt x="131492" y="223994"/>
                    <a:pt x="130917" y="231346"/>
                    <a:pt x="133640" y="235461"/>
                  </a:cubicBezTo>
                  <a:cubicBezTo>
                    <a:pt x="136999" y="240514"/>
                    <a:pt x="144139" y="238880"/>
                    <a:pt x="145470" y="242843"/>
                  </a:cubicBezTo>
                  <a:cubicBezTo>
                    <a:pt x="146499" y="245960"/>
                    <a:pt x="142445" y="247836"/>
                    <a:pt x="139540" y="254189"/>
                  </a:cubicBezTo>
                  <a:cubicBezTo>
                    <a:pt x="134760" y="264658"/>
                    <a:pt x="139994" y="272252"/>
                    <a:pt x="135607" y="275399"/>
                  </a:cubicBezTo>
                  <a:cubicBezTo>
                    <a:pt x="132339" y="277728"/>
                    <a:pt x="125653" y="276216"/>
                    <a:pt x="122778" y="272434"/>
                  </a:cubicBezTo>
                  <a:cubicBezTo>
                    <a:pt x="118512" y="266806"/>
                    <a:pt x="125108" y="259333"/>
                    <a:pt x="120812" y="253705"/>
                  </a:cubicBezTo>
                  <a:cubicBezTo>
                    <a:pt x="117060" y="248774"/>
                    <a:pt x="108376" y="249711"/>
                    <a:pt x="107983" y="249772"/>
                  </a:cubicBezTo>
                  <a:cubicBezTo>
                    <a:pt x="99481" y="250801"/>
                    <a:pt x="95790" y="258183"/>
                    <a:pt x="92704" y="256670"/>
                  </a:cubicBezTo>
                  <a:cubicBezTo>
                    <a:pt x="89588" y="255158"/>
                    <a:pt x="93248" y="247654"/>
                    <a:pt x="89255" y="243358"/>
                  </a:cubicBezTo>
                  <a:cubicBezTo>
                    <a:pt x="85201" y="239001"/>
                    <a:pt x="74732" y="239546"/>
                    <a:pt x="68045" y="244356"/>
                  </a:cubicBezTo>
                  <a:cubicBezTo>
                    <a:pt x="60088" y="250075"/>
                    <a:pt x="61934" y="258667"/>
                    <a:pt x="55217" y="261118"/>
                  </a:cubicBezTo>
                  <a:cubicBezTo>
                    <a:pt x="48894" y="263448"/>
                    <a:pt x="45323" y="256489"/>
                    <a:pt x="39454" y="258153"/>
                  </a:cubicBezTo>
                  <a:cubicBezTo>
                    <a:pt x="28441" y="261300"/>
                    <a:pt x="32828" y="287864"/>
                    <a:pt x="19243" y="293643"/>
                  </a:cubicBezTo>
                  <a:cubicBezTo>
                    <a:pt x="19152" y="293673"/>
                    <a:pt x="19031" y="293704"/>
                    <a:pt x="18910" y="293764"/>
                  </a:cubicBezTo>
                  <a:lnTo>
                    <a:pt x="23660" y="321267"/>
                  </a:lnTo>
                  <a:lnTo>
                    <a:pt x="0" y="329405"/>
                  </a:lnTo>
                  <a:lnTo>
                    <a:pt x="8139" y="346409"/>
                  </a:lnTo>
                  <a:lnTo>
                    <a:pt x="34008" y="337544"/>
                  </a:lnTo>
                  <a:lnTo>
                    <a:pt x="60633" y="345683"/>
                  </a:lnTo>
                  <a:lnTo>
                    <a:pt x="32525" y="377482"/>
                  </a:lnTo>
                  <a:lnTo>
                    <a:pt x="53976" y="415181"/>
                  </a:lnTo>
                  <a:lnTo>
                    <a:pt x="82810" y="395212"/>
                  </a:lnTo>
                  <a:lnTo>
                    <a:pt x="111644" y="400386"/>
                  </a:lnTo>
                  <a:lnTo>
                    <a:pt x="116092" y="421081"/>
                  </a:lnTo>
                  <a:lnTo>
                    <a:pt x="83567" y="438841"/>
                  </a:lnTo>
                  <a:lnTo>
                    <a:pt x="111675" y="476540"/>
                  </a:lnTo>
                  <a:lnTo>
                    <a:pt x="109768" y="476510"/>
                  </a:lnTo>
                  <a:lnTo>
                    <a:pt x="147921" y="607669"/>
                  </a:lnTo>
                  <a:lnTo>
                    <a:pt x="128194" y="636261"/>
                  </a:lnTo>
                  <a:lnTo>
                    <a:pt x="130161" y="666819"/>
                  </a:lnTo>
                  <a:lnTo>
                    <a:pt x="165651" y="668786"/>
                  </a:lnTo>
                  <a:lnTo>
                    <a:pt x="195241" y="690479"/>
                  </a:lnTo>
                  <a:lnTo>
                    <a:pt x="159751" y="703308"/>
                  </a:lnTo>
                  <a:lnTo>
                    <a:pt x="125532" y="744758"/>
                  </a:lnTo>
                  <a:lnTo>
                    <a:pt x="177632" y="764969"/>
                  </a:lnTo>
                  <a:lnTo>
                    <a:pt x="207223" y="84557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7" name="Полилиния: фигура 18">
              <a:extLst>
                <a:ext uri="{FF2B5EF4-FFF2-40B4-BE49-F238E27FC236}">
                  <a16:creationId xmlns:a16="http://schemas.microsoft.com/office/drawing/2014/main" xmlns="" id="{A3ED8C8C-0956-4C70-9116-ED18758EBD62}"/>
                </a:ext>
              </a:extLst>
            </p:cNvPr>
            <p:cNvSpPr/>
            <p:nvPr/>
          </p:nvSpPr>
          <p:spPr>
            <a:xfrm>
              <a:off x="6117380" y="1511735"/>
              <a:ext cx="1370592" cy="1198133"/>
            </a:xfrm>
            <a:custGeom>
              <a:avLst/>
              <a:gdLst>
                <a:gd name="connsiteX0" fmla="*/ 1369472 w 1370591"/>
                <a:gd name="connsiteY0" fmla="*/ 223712 h 1198132"/>
                <a:gd name="connsiteX1" fmla="*/ 1333982 w 1370591"/>
                <a:gd name="connsiteY1" fmla="*/ 224832 h 1198132"/>
                <a:gd name="connsiteX2" fmla="*/ 1301820 w 1370591"/>
                <a:gd name="connsiteY2" fmla="*/ 198569 h 1198132"/>
                <a:gd name="connsiteX3" fmla="*/ 1284816 w 1370591"/>
                <a:gd name="connsiteY3" fmla="*/ 181202 h 1198132"/>
                <a:gd name="connsiteX4" fmla="*/ 1254863 w 1370591"/>
                <a:gd name="connsiteY4" fmla="*/ 179720 h 1198132"/>
                <a:gd name="connsiteX5" fmla="*/ 1260793 w 1370591"/>
                <a:gd name="connsiteY5" fmla="*/ 160114 h 1198132"/>
                <a:gd name="connsiteX6" fmla="*/ 1265240 w 1370591"/>
                <a:gd name="connsiteY6" fmla="*/ 130917 h 1198132"/>
                <a:gd name="connsiteX7" fmla="*/ 1238615 w 1370591"/>
                <a:gd name="connsiteY7" fmla="*/ 125744 h 1198132"/>
                <a:gd name="connsiteX8" fmla="*/ 1240098 w 1370591"/>
                <a:gd name="connsiteY8" fmla="*/ 146438 h 1198132"/>
                <a:gd name="connsiteX9" fmla="*/ 1229750 w 1370591"/>
                <a:gd name="connsiteY9" fmla="*/ 180083 h 1198132"/>
                <a:gd name="connsiteX10" fmla="*/ 1217557 w 1370591"/>
                <a:gd name="connsiteY10" fmla="*/ 190067 h 1198132"/>
                <a:gd name="connsiteX11" fmla="*/ 1212021 w 1370591"/>
                <a:gd name="connsiteY11" fmla="*/ 217812 h 1198132"/>
                <a:gd name="connsiteX12" fmla="*/ 1198708 w 1370591"/>
                <a:gd name="connsiteY12" fmla="*/ 210036 h 1198132"/>
                <a:gd name="connsiteX13" fmla="*/ 1183187 w 1370591"/>
                <a:gd name="connsiteY13" fmla="*/ 220747 h 1198132"/>
                <a:gd name="connsiteX14" fmla="*/ 1168755 w 1370591"/>
                <a:gd name="connsiteY14" fmla="*/ 207797 h 1198132"/>
                <a:gd name="connsiteX15" fmla="*/ 1142492 w 1370591"/>
                <a:gd name="connsiteY15" fmla="*/ 219264 h 1198132"/>
                <a:gd name="connsiteX16" fmla="*/ 1128454 w 1370591"/>
                <a:gd name="connsiteY16" fmla="*/ 208554 h 1198132"/>
                <a:gd name="connsiteX17" fmla="*/ 1114022 w 1370591"/>
                <a:gd name="connsiteY17" fmla="*/ 219264 h 1198132"/>
                <a:gd name="connsiteX18" fmla="*/ 1103674 w 1370591"/>
                <a:gd name="connsiteY18" fmla="*/ 215573 h 1198132"/>
                <a:gd name="connsiteX19" fmla="*/ 1087790 w 1370591"/>
                <a:gd name="connsiteY19" fmla="*/ 232940 h 1198132"/>
                <a:gd name="connsiteX20" fmla="*/ 1074477 w 1370591"/>
                <a:gd name="connsiteY20" fmla="*/ 208524 h 1198132"/>
                <a:gd name="connsiteX21" fmla="*/ 1027157 w 1370591"/>
                <a:gd name="connsiteY21" fmla="*/ 167497 h 1198132"/>
                <a:gd name="connsiteX22" fmla="*/ 1027157 w 1370591"/>
                <a:gd name="connsiteY22" fmla="*/ 147891 h 1198132"/>
                <a:gd name="connsiteX23" fmla="*/ 940383 w 1370591"/>
                <a:gd name="connsiteY23" fmla="*/ 125199 h 1198132"/>
                <a:gd name="connsiteX24" fmla="*/ 930520 w 1370591"/>
                <a:gd name="connsiteY24" fmla="*/ 135062 h 1198132"/>
                <a:gd name="connsiteX25" fmla="*/ 891580 w 1370591"/>
                <a:gd name="connsiteY25" fmla="*/ 71464 h 1198132"/>
                <a:gd name="connsiteX26" fmla="*/ 850160 w 1370591"/>
                <a:gd name="connsiteY26" fmla="*/ 38939 h 1198132"/>
                <a:gd name="connsiteX27" fmla="*/ 846227 w 1370591"/>
                <a:gd name="connsiteY27" fmla="*/ 26625 h 1198132"/>
                <a:gd name="connsiteX28" fmla="*/ 761420 w 1370591"/>
                <a:gd name="connsiteY28" fmla="*/ 0 h 1198132"/>
                <a:gd name="connsiteX29" fmla="*/ 725929 w 1370591"/>
                <a:gd name="connsiteY29" fmla="*/ 6414 h 1198132"/>
                <a:gd name="connsiteX30" fmla="*/ 717549 w 1370591"/>
                <a:gd name="connsiteY30" fmla="*/ 42388 h 1198132"/>
                <a:gd name="connsiteX31" fmla="*/ 685992 w 1370591"/>
                <a:gd name="connsiteY31" fmla="*/ 43871 h 1198132"/>
                <a:gd name="connsiteX32" fmla="*/ 684025 w 1370591"/>
                <a:gd name="connsiteY32" fmla="*/ 67531 h 1198132"/>
                <a:gd name="connsiteX33" fmla="*/ 670228 w 1370591"/>
                <a:gd name="connsiteY33" fmla="*/ 90707 h 1198132"/>
                <a:gd name="connsiteX34" fmla="*/ 640638 w 1370591"/>
                <a:gd name="connsiteY34" fmla="*/ 90707 h 1198132"/>
                <a:gd name="connsiteX35" fmla="*/ 625359 w 1370591"/>
                <a:gd name="connsiteY35" fmla="*/ 104504 h 1198132"/>
                <a:gd name="connsiteX36" fmla="*/ 578038 w 1370591"/>
                <a:gd name="connsiteY36" fmla="*/ 101539 h 1198132"/>
                <a:gd name="connsiteX37" fmla="*/ 532201 w 1370591"/>
                <a:gd name="connsiteY37" fmla="*/ 121750 h 1198132"/>
                <a:gd name="connsiteX38" fmla="*/ 510992 w 1370591"/>
                <a:gd name="connsiteY38" fmla="*/ 72463 h 1198132"/>
                <a:gd name="connsiteX39" fmla="*/ 465880 w 1370591"/>
                <a:gd name="connsiteY39" fmla="*/ 96879 h 1198132"/>
                <a:gd name="connsiteX40" fmla="*/ 465154 w 1370591"/>
                <a:gd name="connsiteY40" fmla="*/ 43629 h 1198132"/>
                <a:gd name="connsiteX41" fmla="*/ 435564 w 1370591"/>
                <a:gd name="connsiteY41" fmla="*/ 41420 h 1198132"/>
                <a:gd name="connsiteX42" fmla="*/ 394143 w 1370591"/>
                <a:gd name="connsiteY42" fmla="*/ 25899 h 1198132"/>
                <a:gd name="connsiteX43" fmla="*/ 396352 w 1370591"/>
                <a:gd name="connsiteY43" fmla="*/ 61389 h 1198132"/>
                <a:gd name="connsiteX44" fmla="*/ 371209 w 1370591"/>
                <a:gd name="connsiteY44" fmla="*/ 62872 h 1198132"/>
                <a:gd name="connsiteX45" fmla="*/ 391178 w 1370591"/>
                <a:gd name="connsiteY45" fmla="*/ 105775 h 1198132"/>
                <a:gd name="connsiteX46" fmla="*/ 360106 w 1370591"/>
                <a:gd name="connsiteY46" fmla="*/ 131643 h 1198132"/>
                <a:gd name="connsiteX47" fmla="*/ 354932 w 1370591"/>
                <a:gd name="connsiteY47" fmla="*/ 150856 h 1198132"/>
                <a:gd name="connsiteX48" fmla="*/ 343828 w 1370591"/>
                <a:gd name="connsiteY48" fmla="*/ 159721 h 1198132"/>
                <a:gd name="connsiteX49" fmla="*/ 244347 w 1370591"/>
                <a:gd name="connsiteY49" fmla="*/ 38516 h 1198132"/>
                <a:gd name="connsiteX50" fmla="*/ 158965 w 1370591"/>
                <a:gd name="connsiteY50" fmla="*/ 104988 h 1198132"/>
                <a:gd name="connsiteX51" fmla="*/ 147134 w 1370591"/>
                <a:gd name="connsiteY51" fmla="*/ 143443 h 1198132"/>
                <a:gd name="connsiteX52" fmla="*/ 181898 w 1370591"/>
                <a:gd name="connsiteY52" fmla="*/ 215906 h 1198132"/>
                <a:gd name="connsiteX53" fmla="*/ 200385 w 1370591"/>
                <a:gd name="connsiteY53" fmla="*/ 319442 h 1198132"/>
                <a:gd name="connsiteX54" fmla="*/ 193729 w 1370591"/>
                <a:gd name="connsiteY54" fmla="*/ 354206 h 1198132"/>
                <a:gd name="connsiteX55" fmla="*/ 116092 w 1370591"/>
                <a:gd name="connsiteY55" fmla="*/ 388970 h 1198132"/>
                <a:gd name="connsiteX56" fmla="*/ 57668 w 1370591"/>
                <a:gd name="connsiteY56" fmla="*/ 351997 h 1198132"/>
                <a:gd name="connsiteX57" fmla="*/ 56397 w 1370591"/>
                <a:gd name="connsiteY57" fmla="*/ 349758 h 1198132"/>
                <a:gd name="connsiteX58" fmla="*/ 0 w 1370591"/>
                <a:gd name="connsiteY58" fmla="*/ 417077 h 1198132"/>
                <a:gd name="connsiteX59" fmla="*/ 16278 w 1370591"/>
                <a:gd name="connsiteY59" fmla="*/ 520613 h 1198132"/>
                <a:gd name="connsiteX60" fmla="*/ 58424 w 1370591"/>
                <a:gd name="connsiteY60" fmla="*/ 531717 h 1198132"/>
                <a:gd name="connsiteX61" fmla="*/ 59150 w 1370591"/>
                <a:gd name="connsiteY61" fmla="*/ 583485 h 1198132"/>
                <a:gd name="connsiteX62" fmla="*/ 29560 w 1370591"/>
                <a:gd name="connsiteY62" fmla="*/ 619731 h 1198132"/>
                <a:gd name="connsiteX63" fmla="*/ 76154 w 1370591"/>
                <a:gd name="connsiteY63" fmla="*/ 667051 h 1198132"/>
                <a:gd name="connsiteX64" fmla="*/ 76154 w 1370591"/>
                <a:gd name="connsiteY64" fmla="*/ 727684 h 1198132"/>
                <a:gd name="connsiteX65" fmla="*/ 29560 w 1370591"/>
                <a:gd name="connsiteY65" fmla="*/ 774278 h 1198132"/>
                <a:gd name="connsiteX66" fmla="*/ 93884 w 1370591"/>
                <a:gd name="connsiteY66" fmla="*/ 820116 h 1198132"/>
                <a:gd name="connsiteX67" fmla="*/ 104988 w 1370591"/>
                <a:gd name="connsiteY67" fmla="*/ 843776 h 1198132"/>
                <a:gd name="connsiteX68" fmla="*/ 83536 w 1370591"/>
                <a:gd name="connsiteY68" fmla="*/ 891096 h 1198132"/>
                <a:gd name="connsiteX69" fmla="*/ 96093 w 1370591"/>
                <a:gd name="connsiteY69" fmla="*/ 976872 h 1198132"/>
                <a:gd name="connsiteX70" fmla="*/ 91645 w 1370591"/>
                <a:gd name="connsiteY70" fmla="*/ 1036778 h 1198132"/>
                <a:gd name="connsiteX71" fmla="*/ 116788 w 1370591"/>
                <a:gd name="connsiteY71" fmla="*/ 1054539 h 1198132"/>
                <a:gd name="connsiteX72" fmla="*/ 146378 w 1370591"/>
                <a:gd name="connsiteY72" fmla="*/ 1032361 h 1198132"/>
                <a:gd name="connsiteX73" fmla="*/ 217358 w 1370591"/>
                <a:gd name="connsiteY73" fmla="*/ 1030152 h 1198132"/>
                <a:gd name="connsiteX74" fmla="*/ 229188 w 1370591"/>
                <a:gd name="connsiteY74" fmla="*/ 1009457 h 1198132"/>
                <a:gd name="connsiteX75" fmla="*/ 265435 w 1370591"/>
                <a:gd name="connsiteY75" fmla="*/ 1008731 h 1198132"/>
                <a:gd name="connsiteX76" fmla="*/ 277265 w 1370591"/>
                <a:gd name="connsiteY76" fmla="*/ 977658 h 1198132"/>
                <a:gd name="connsiteX77" fmla="*/ 383766 w 1370591"/>
                <a:gd name="connsiteY77" fmla="*/ 1005766 h 1198132"/>
                <a:gd name="connsiteX78" fmla="*/ 421464 w 1370591"/>
                <a:gd name="connsiteY78" fmla="*/ 990971 h 1198132"/>
                <a:gd name="connsiteX79" fmla="*/ 479132 w 1370591"/>
                <a:gd name="connsiteY79" fmla="*/ 1050121 h 1198132"/>
                <a:gd name="connsiteX80" fmla="*/ 569355 w 1370591"/>
                <a:gd name="connsiteY80" fmla="*/ 1008701 h 1198132"/>
                <a:gd name="connsiteX81" fmla="*/ 600428 w 1370591"/>
                <a:gd name="connsiteY81" fmla="*/ 1029396 h 1198132"/>
                <a:gd name="connsiteX82" fmla="*/ 651439 w 1370591"/>
                <a:gd name="connsiteY82" fmla="*/ 1032361 h 1198132"/>
                <a:gd name="connsiteX83" fmla="*/ 685961 w 1370591"/>
                <a:gd name="connsiteY83" fmla="*/ 1043707 h 1198132"/>
                <a:gd name="connsiteX84" fmla="*/ 807227 w 1370591"/>
                <a:gd name="connsiteY84" fmla="*/ 1038291 h 1198132"/>
                <a:gd name="connsiteX85" fmla="*/ 808710 w 1370591"/>
                <a:gd name="connsiteY85" fmla="*/ 1076262 h 1198132"/>
                <a:gd name="connsiteX86" fmla="*/ 929007 w 1370591"/>
                <a:gd name="connsiteY86" fmla="*/ 1182733 h 1198132"/>
                <a:gd name="connsiteX87" fmla="*/ 930973 w 1370591"/>
                <a:gd name="connsiteY87" fmla="*/ 1198254 h 1198132"/>
                <a:gd name="connsiteX88" fmla="*/ 954452 w 1370591"/>
                <a:gd name="connsiteY88" fmla="*/ 1199071 h 1198132"/>
                <a:gd name="connsiteX89" fmla="*/ 943802 w 1370591"/>
                <a:gd name="connsiteY89" fmla="*/ 1133416 h 1198132"/>
                <a:gd name="connsiteX90" fmla="*/ 957599 w 1370591"/>
                <a:gd name="connsiteY90" fmla="*/ 1117652 h 1198132"/>
                <a:gd name="connsiteX91" fmla="*/ 973120 w 1370591"/>
                <a:gd name="connsiteY91" fmla="*/ 821236 h 1198132"/>
                <a:gd name="connsiteX92" fmla="*/ 984950 w 1370591"/>
                <a:gd name="connsiteY92" fmla="*/ 823081 h 1198132"/>
                <a:gd name="connsiteX93" fmla="*/ 1010819 w 1370591"/>
                <a:gd name="connsiteY93" fmla="*/ 822718 h 1198132"/>
                <a:gd name="connsiteX94" fmla="*/ 1042618 w 1370591"/>
                <a:gd name="connsiteY94" fmla="*/ 840085 h 1198132"/>
                <a:gd name="connsiteX95" fmla="*/ 1096958 w 1370591"/>
                <a:gd name="connsiteY95" fmla="*/ 844533 h 1198132"/>
                <a:gd name="connsiteX96" fmla="*/ 1203821 w 1370591"/>
                <a:gd name="connsiteY96" fmla="*/ 799784 h 1198132"/>
                <a:gd name="connsiteX97" fmla="*/ 1237102 w 1370591"/>
                <a:gd name="connsiteY97" fmla="*/ 827529 h 1198132"/>
                <a:gd name="connsiteX98" fmla="*/ 1265210 w 1370591"/>
                <a:gd name="connsiteY98" fmla="*/ 769861 h 1198132"/>
                <a:gd name="connsiteX99" fmla="*/ 1304029 w 1370591"/>
                <a:gd name="connsiteY99" fmla="*/ 759150 h 1198132"/>
                <a:gd name="connsiteX100" fmla="*/ 1304755 w 1370591"/>
                <a:gd name="connsiteY100" fmla="*/ 721451 h 1198132"/>
                <a:gd name="connsiteX101" fmla="*/ 1302909 w 1370591"/>
                <a:gd name="connsiteY101" fmla="*/ 685961 h 1198132"/>
                <a:gd name="connsiteX102" fmla="*/ 1282940 w 1370591"/>
                <a:gd name="connsiteY102" fmla="*/ 658973 h 1198132"/>
                <a:gd name="connsiteX103" fmla="*/ 1275164 w 1370591"/>
                <a:gd name="connsiteY103" fmla="*/ 631229 h 1198132"/>
                <a:gd name="connsiteX104" fmla="*/ 1236709 w 1370591"/>
                <a:gd name="connsiteY104" fmla="*/ 550990 h 1198132"/>
                <a:gd name="connsiteX105" fmla="*/ 1235227 w 1370591"/>
                <a:gd name="connsiteY105" fmla="*/ 523639 h 1198132"/>
                <a:gd name="connsiteX106" fmla="*/ 1237435 w 1370591"/>
                <a:gd name="connsiteY106" fmla="*/ 473716 h 1198132"/>
                <a:gd name="connsiteX107" fmla="*/ 1249629 w 1370591"/>
                <a:gd name="connsiteY107" fmla="*/ 457832 h 1198132"/>
                <a:gd name="connsiteX108" fmla="*/ 1301759 w 1370591"/>
                <a:gd name="connsiteY108" fmla="*/ 426759 h 1198132"/>
                <a:gd name="connsiteX109" fmla="*/ 1333921 w 1370591"/>
                <a:gd name="connsiteY109" fmla="*/ 390513 h 1198132"/>
                <a:gd name="connsiteX110" fmla="*/ 1339458 w 1370591"/>
                <a:gd name="connsiteY110" fmla="*/ 348366 h 1198132"/>
                <a:gd name="connsiteX111" fmla="*/ 1337613 w 1370591"/>
                <a:gd name="connsiteY111" fmla="*/ 326552 h 1198132"/>
                <a:gd name="connsiteX112" fmla="*/ 1318763 w 1370591"/>
                <a:gd name="connsiteY112" fmla="*/ 295872 h 1198132"/>
                <a:gd name="connsiteX113" fmla="*/ 1349836 w 1370591"/>
                <a:gd name="connsiteY113" fmla="*/ 250761 h 1198132"/>
                <a:gd name="connsiteX114" fmla="*/ 1369805 w 1370591"/>
                <a:gd name="connsiteY114" fmla="*/ 244831 h 1198132"/>
                <a:gd name="connsiteX115" fmla="*/ 1369472 w 1370591"/>
                <a:gd name="connsiteY115" fmla="*/ 223712 h 1198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370591" h="1198132">
                  <a:moveTo>
                    <a:pt x="1369472" y="223712"/>
                  </a:moveTo>
                  <a:cubicBezTo>
                    <a:pt x="1362120" y="216905"/>
                    <a:pt x="1350986" y="229279"/>
                    <a:pt x="1333982" y="224832"/>
                  </a:cubicBezTo>
                  <a:cubicBezTo>
                    <a:pt x="1322939" y="221927"/>
                    <a:pt x="1315314" y="213486"/>
                    <a:pt x="1301820" y="198569"/>
                  </a:cubicBezTo>
                  <a:cubicBezTo>
                    <a:pt x="1291684" y="187375"/>
                    <a:pt x="1291352" y="183865"/>
                    <a:pt x="1284816" y="181202"/>
                  </a:cubicBezTo>
                  <a:cubicBezTo>
                    <a:pt x="1271231" y="175605"/>
                    <a:pt x="1258524" y="184833"/>
                    <a:pt x="1254863" y="179720"/>
                  </a:cubicBezTo>
                  <a:cubicBezTo>
                    <a:pt x="1252775" y="176785"/>
                    <a:pt x="1256254" y="172852"/>
                    <a:pt x="1260793" y="160114"/>
                  </a:cubicBezTo>
                  <a:cubicBezTo>
                    <a:pt x="1265906" y="145652"/>
                    <a:pt x="1268932" y="137120"/>
                    <a:pt x="1265240" y="130917"/>
                  </a:cubicBezTo>
                  <a:cubicBezTo>
                    <a:pt x="1260158" y="122355"/>
                    <a:pt x="1243487" y="120086"/>
                    <a:pt x="1238615" y="125744"/>
                  </a:cubicBezTo>
                  <a:cubicBezTo>
                    <a:pt x="1235408" y="129465"/>
                    <a:pt x="1239735" y="133852"/>
                    <a:pt x="1240098" y="146438"/>
                  </a:cubicBezTo>
                  <a:cubicBezTo>
                    <a:pt x="1240188" y="150190"/>
                    <a:pt x="1240703" y="168041"/>
                    <a:pt x="1229750" y="180083"/>
                  </a:cubicBezTo>
                  <a:cubicBezTo>
                    <a:pt x="1224063" y="186346"/>
                    <a:pt x="1221369" y="184319"/>
                    <a:pt x="1217557" y="190067"/>
                  </a:cubicBezTo>
                  <a:cubicBezTo>
                    <a:pt x="1209902" y="201534"/>
                    <a:pt x="1216196" y="216239"/>
                    <a:pt x="1212021" y="217812"/>
                  </a:cubicBezTo>
                  <a:cubicBezTo>
                    <a:pt x="1208753" y="219022"/>
                    <a:pt x="1205364" y="209885"/>
                    <a:pt x="1198708" y="210036"/>
                  </a:cubicBezTo>
                  <a:cubicBezTo>
                    <a:pt x="1191568" y="210218"/>
                    <a:pt x="1189480" y="220898"/>
                    <a:pt x="1183187" y="220747"/>
                  </a:cubicBezTo>
                  <a:cubicBezTo>
                    <a:pt x="1176802" y="220596"/>
                    <a:pt x="1176228" y="209552"/>
                    <a:pt x="1168755" y="207797"/>
                  </a:cubicBezTo>
                  <a:cubicBezTo>
                    <a:pt x="1159315" y="205589"/>
                    <a:pt x="1152416" y="221443"/>
                    <a:pt x="1142492" y="219264"/>
                  </a:cubicBezTo>
                  <a:cubicBezTo>
                    <a:pt x="1135594" y="217752"/>
                    <a:pt x="1134838" y="209189"/>
                    <a:pt x="1128454" y="208554"/>
                  </a:cubicBezTo>
                  <a:cubicBezTo>
                    <a:pt x="1122856" y="208009"/>
                    <a:pt x="1117652" y="213970"/>
                    <a:pt x="1114022" y="219264"/>
                  </a:cubicBezTo>
                  <a:lnTo>
                    <a:pt x="1103674" y="215573"/>
                  </a:lnTo>
                  <a:lnTo>
                    <a:pt x="1087790" y="232940"/>
                  </a:lnTo>
                  <a:lnTo>
                    <a:pt x="1074477" y="208524"/>
                  </a:lnTo>
                  <a:lnTo>
                    <a:pt x="1027157" y="167497"/>
                  </a:lnTo>
                  <a:lnTo>
                    <a:pt x="1027157" y="147891"/>
                  </a:lnTo>
                  <a:lnTo>
                    <a:pt x="940383" y="125199"/>
                  </a:lnTo>
                  <a:lnTo>
                    <a:pt x="930520" y="135062"/>
                  </a:lnTo>
                  <a:lnTo>
                    <a:pt x="891580" y="71464"/>
                  </a:lnTo>
                  <a:lnTo>
                    <a:pt x="850160" y="38939"/>
                  </a:lnTo>
                  <a:lnTo>
                    <a:pt x="846227" y="26625"/>
                  </a:lnTo>
                  <a:lnTo>
                    <a:pt x="761420" y="0"/>
                  </a:lnTo>
                  <a:lnTo>
                    <a:pt x="725929" y="6414"/>
                  </a:lnTo>
                  <a:lnTo>
                    <a:pt x="717549" y="42388"/>
                  </a:lnTo>
                  <a:lnTo>
                    <a:pt x="685992" y="43871"/>
                  </a:lnTo>
                  <a:lnTo>
                    <a:pt x="684025" y="67531"/>
                  </a:lnTo>
                  <a:lnTo>
                    <a:pt x="670228" y="90707"/>
                  </a:lnTo>
                  <a:lnTo>
                    <a:pt x="640638" y="90707"/>
                  </a:lnTo>
                  <a:lnTo>
                    <a:pt x="625359" y="104504"/>
                  </a:lnTo>
                  <a:lnTo>
                    <a:pt x="578038" y="101539"/>
                  </a:lnTo>
                  <a:lnTo>
                    <a:pt x="532201" y="121750"/>
                  </a:lnTo>
                  <a:lnTo>
                    <a:pt x="510992" y="72463"/>
                  </a:lnTo>
                  <a:lnTo>
                    <a:pt x="465880" y="96879"/>
                  </a:lnTo>
                  <a:lnTo>
                    <a:pt x="465154" y="43629"/>
                  </a:lnTo>
                  <a:lnTo>
                    <a:pt x="435564" y="41420"/>
                  </a:lnTo>
                  <a:lnTo>
                    <a:pt x="394143" y="25899"/>
                  </a:lnTo>
                  <a:lnTo>
                    <a:pt x="396352" y="61389"/>
                  </a:lnTo>
                  <a:lnTo>
                    <a:pt x="371209" y="62872"/>
                  </a:lnTo>
                  <a:lnTo>
                    <a:pt x="391178" y="105775"/>
                  </a:lnTo>
                  <a:lnTo>
                    <a:pt x="360106" y="131643"/>
                  </a:lnTo>
                  <a:lnTo>
                    <a:pt x="354932" y="150856"/>
                  </a:lnTo>
                  <a:lnTo>
                    <a:pt x="343828" y="159721"/>
                  </a:lnTo>
                  <a:lnTo>
                    <a:pt x="244347" y="38516"/>
                  </a:lnTo>
                  <a:lnTo>
                    <a:pt x="158965" y="104988"/>
                  </a:lnTo>
                  <a:lnTo>
                    <a:pt x="147134" y="143443"/>
                  </a:lnTo>
                  <a:lnTo>
                    <a:pt x="181898" y="215906"/>
                  </a:lnTo>
                  <a:lnTo>
                    <a:pt x="200385" y="319442"/>
                  </a:lnTo>
                  <a:lnTo>
                    <a:pt x="193729" y="354206"/>
                  </a:lnTo>
                  <a:lnTo>
                    <a:pt x="116092" y="388970"/>
                  </a:lnTo>
                  <a:lnTo>
                    <a:pt x="57668" y="351997"/>
                  </a:lnTo>
                  <a:lnTo>
                    <a:pt x="56397" y="349758"/>
                  </a:lnTo>
                  <a:lnTo>
                    <a:pt x="0" y="417077"/>
                  </a:lnTo>
                  <a:lnTo>
                    <a:pt x="16278" y="520613"/>
                  </a:lnTo>
                  <a:lnTo>
                    <a:pt x="58424" y="531717"/>
                  </a:lnTo>
                  <a:lnTo>
                    <a:pt x="59150" y="583485"/>
                  </a:lnTo>
                  <a:lnTo>
                    <a:pt x="29560" y="619731"/>
                  </a:lnTo>
                  <a:lnTo>
                    <a:pt x="76154" y="667051"/>
                  </a:lnTo>
                  <a:lnTo>
                    <a:pt x="76154" y="727684"/>
                  </a:lnTo>
                  <a:lnTo>
                    <a:pt x="29560" y="774278"/>
                  </a:lnTo>
                  <a:lnTo>
                    <a:pt x="93884" y="820116"/>
                  </a:lnTo>
                  <a:lnTo>
                    <a:pt x="104988" y="843776"/>
                  </a:lnTo>
                  <a:lnTo>
                    <a:pt x="83536" y="891096"/>
                  </a:lnTo>
                  <a:lnTo>
                    <a:pt x="96093" y="976872"/>
                  </a:lnTo>
                  <a:lnTo>
                    <a:pt x="91645" y="1036778"/>
                  </a:lnTo>
                  <a:lnTo>
                    <a:pt x="116788" y="1054539"/>
                  </a:lnTo>
                  <a:lnTo>
                    <a:pt x="146378" y="1032361"/>
                  </a:lnTo>
                  <a:lnTo>
                    <a:pt x="217358" y="1030152"/>
                  </a:lnTo>
                  <a:lnTo>
                    <a:pt x="229188" y="1009457"/>
                  </a:lnTo>
                  <a:lnTo>
                    <a:pt x="265435" y="1008731"/>
                  </a:lnTo>
                  <a:lnTo>
                    <a:pt x="277265" y="977658"/>
                  </a:lnTo>
                  <a:lnTo>
                    <a:pt x="383766" y="1005766"/>
                  </a:lnTo>
                  <a:lnTo>
                    <a:pt x="421464" y="990971"/>
                  </a:lnTo>
                  <a:lnTo>
                    <a:pt x="479132" y="1050121"/>
                  </a:lnTo>
                  <a:lnTo>
                    <a:pt x="569355" y="1008701"/>
                  </a:lnTo>
                  <a:lnTo>
                    <a:pt x="600428" y="1029396"/>
                  </a:lnTo>
                  <a:lnTo>
                    <a:pt x="651439" y="1032361"/>
                  </a:lnTo>
                  <a:lnTo>
                    <a:pt x="685961" y="1043707"/>
                  </a:lnTo>
                  <a:lnTo>
                    <a:pt x="807227" y="1038291"/>
                  </a:lnTo>
                  <a:lnTo>
                    <a:pt x="808710" y="1076262"/>
                  </a:lnTo>
                  <a:lnTo>
                    <a:pt x="929007" y="1182733"/>
                  </a:lnTo>
                  <a:lnTo>
                    <a:pt x="930973" y="1198254"/>
                  </a:lnTo>
                  <a:lnTo>
                    <a:pt x="954452" y="1199071"/>
                  </a:lnTo>
                  <a:lnTo>
                    <a:pt x="943802" y="1133416"/>
                  </a:lnTo>
                  <a:lnTo>
                    <a:pt x="957599" y="1117652"/>
                  </a:lnTo>
                  <a:lnTo>
                    <a:pt x="973120" y="821236"/>
                  </a:lnTo>
                  <a:cubicBezTo>
                    <a:pt x="975873" y="821841"/>
                    <a:pt x="979958" y="822597"/>
                    <a:pt x="984950" y="823081"/>
                  </a:cubicBezTo>
                  <a:cubicBezTo>
                    <a:pt x="997718" y="824321"/>
                    <a:pt x="1004980" y="822627"/>
                    <a:pt x="1010819" y="822718"/>
                  </a:cubicBezTo>
                  <a:cubicBezTo>
                    <a:pt x="1018534" y="822809"/>
                    <a:pt x="1029366" y="826046"/>
                    <a:pt x="1042618" y="840085"/>
                  </a:cubicBezTo>
                  <a:lnTo>
                    <a:pt x="1096958" y="844533"/>
                  </a:lnTo>
                  <a:lnTo>
                    <a:pt x="1203821" y="799784"/>
                  </a:lnTo>
                  <a:lnTo>
                    <a:pt x="1237102" y="827529"/>
                  </a:lnTo>
                  <a:lnTo>
                    <a:pt x="1265210" y="769861"/>
                  </a:lnTo>
                  <a:lnTo>
                    <a:pt x="1304029" y="759150"/>
                  </a:lnTo>
                  <a:cubicBezTo>
                    <a:pt x="1304301" y="742268"/>
                    <a:pt x="1304573" y="729167"/>
                    <a:pt x="1304755" y="721451"/>
                  </a:cubicBezTo>
                  <a:cubicBezTo>
                    <a:pt x="1305360" y="696702"/>
                    <a:pt x="1305663" y="692618"/>
                    <a:pt x="1302909" y="685961"/>
                  </a:cubicBezTo>
                  <a:cubicBezTo>
                    <a:pt x="1297735" y="673526"/>
                    <a:pt x="1290595" y="673345"/>
                    <a:pt x="1282940" y="658973"/>
                  </a:cubicBezTo>
                  <a:cubicBezTo>
                    <a:pt x="1277403" y="648565"/>
                    <a:pt x="1277646" y="642030"/>
                    <a:pt x="1275164" y="631229"/>
                  </a:cubicBezTo>
                  <a:cubicBezTo>
                    <a:pt x="1266300" y="592380"/>
                    <a:pt x="1243063" y="588416"/>
                    <a:pt x="1236709" y="550990"/>
                  </a:cubicBezTo>
                  <a:cubicBezTo>
                    <a:pt x="1236013" y="546936"/>
                    <a:pt x="1236921" y="550627"/>
                    <a:pt x="1235227" y="523639"/>
                  </a:cubicBezTo>
                  <a:cubicBezTo>
                    <a:pt x="1233441" y="494805"/>
                    <a:pt x="1232080" y="485153"/>
                    <a:pt x="1237435" y="473716"/>
                  </a:cubicBezTo>
                  <a:cubicBezTo>
                    <a:pt x="1240582" y="467030"/>
                    <a:pt x="1244455" y="463097"/>
                    <a:pt x="1249629" y="457832"/>
                  </a:cubicBezTo>
                  <a:cubicBezTo>
                    <a:pt x="1267600" y="439557"/>
                    <a:pt x="1280399" y="441827"/>
                    <a:pt x="1301759" y="426759"/>
                  </a:cubicBezTo>
                  <a:cubicBezTo>
                    <a:pt x="1311623" y="419800"/>
                    <a:pt x="1326448" y="409392"/>
                    <a:pt x="1333921" y="390513"/>
                  </a:cubicBezTo>
                  <a:cubicBezTo>
                    <a:pt x="1339307" y="376988"/>
                    <a:pt x="1339367" y="362950"/>
                    <a:pt x="1339458" y="348366"/>
                  </a:cubicBezTo>
                  <a:cubicBezTo>
                    <a:pt x="1339519" y="338200"/>
                    <a:pt x="1339549" y="333117"/>
                    <a:pt x="1337613" y="326552"/>
                  </a:cubicBezTo>
                  <a:cubicBezTo>
                    <a:pt x="1332258" y="308459"/>
                    <a:pt x="1321032" y="308186"/>
                    <a:pt x="1318763" y="295872"/>
                  </a:cubicBezTo>
                  <a:cubicBezTo>
                    <a:pt x="1315677" y="279292"/>
                    <a:pt x="1331562" y="256237"/>
                    <a:pt x="1349836" y="250761"/>
                  </a:cubicBezTo>
                  <a:cubicBezTo>
                    <a:pt x="1358610" y="248128"/>
                    <a:pt x="1365267" y="250368"/>
                    <a:pt x="1369805" y="244831"/>
                  </a:cubicBezTo>
                  <a:cubicBezTo>
                    <a:pt x="1374464" y="239173"/>
                    <a:pt x="1374586" y="228402"/>
                    <a:pt x="1369472" y="223712"/>
                  </a:cubicBez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8" name="Полилиния: фигура 19">
              <a:extLst>
                <a:ext uri="{FF2B5EF4-FFF2-40B4-BE49-F238E27FC236}">
                  <a16:creationId xmlns:a16="http://schemas.microsoft.com/office/drawing/2014/main" xmlns="" id="{9A4C8D6A-FE92-4259-AF83-67B9431DB374}"/>
                </a:ext>
              </a:extLst>
            </p:cNvPr>
            <p:cNvSpPr/>
            <p:nvPr/>
          </p:nvSpPr>
          <p:spPr>
            <a:xfrm>
              <a:off x="4062310" y="1713391"/>
              <a:ext cx="2269191" cy="1313105"/>
            </a:xfrm>
            <a:custGeom>
              <a:avLst/>
              <a:gdLst>
                <a:gd name="connsiteX0" fmla="*/ 53250 w 2269191"/>
                <a:gd name="connsiteY0" fmla="*/ 1107244 h 1313105"/>
                <a:gd name="connsiteX1" fmla="*/ 107983 w 2269191"/>
                <a:gd name="connsiteY1" fmla="*/ 1145185 h 1313105"/>
                <a:gd name="connsiteX2" fmla="*/ 286432 w 2269191"/>
                <a:gd name="connsiteY2" fmla="*/ 1188088 h 1313105"/>
                <a:gd name="connsiteX3" fmla="*/ 359409 w 2269191"/>
                <a:gd name="connsiteY3" fmla="*/ 1238857 h 1313105"/>
                <a:gd name="connsiteX4" fmla="*/ 398833 w 2269191"/>
                <a:gd name="connsiteY4" fmla="*/ 1237375 h 1313105"/>
                <a:gd name="connsiteX5" fmla="*/ 464881 w 2269191"/>
                <a:gd name="connsiteY5" fmla="*/ 1297524 h 1313105"/>
                <a:gd name="connsiteX6" fmla="*/ 706475 w 2269191"/>
                <a:gd name="connsiteY6" fmla="*/ 1286692 h 1313105"/>
                <a:gd name="connsiteX7" fmla="*/ 721240 w 2269191"/>
                <a:gd name="connsiteY7" fmla="*/ 1315284 h 1313105"/>
                <a:gd name="connsiteX8" fmla="*/ 1024918 w 2269191"/>
                <a:gd name="connsiteY8" fmla="*/ 1299490 h 1313105"/>
                <a:gd name="connsiteX9" fmla="*/ 1791027 w 2269191"/>
                <a:gd name="connsiteY9" fmla="*/ 1184155 h 1313105"/>
                <a:gd name="connsiteX10" fmla="*/ 1874836 w 2269191"/>
                <a:gd name="connsiteY10" fmla="*/ 1068305 h 1313105"/>
                <a:gd name="connsiteX11" fmla="*/ 1888633 w 2269191"/>
                <a:gd name="connsiteY11" fmla="*/ 1033783 h 1313105"/>
                <a:gd name="connsiteX12" fmla="*/ 1930053 w 2269191"/>
                <a:gd name="connsiteY12" fmla="*/ 1019472 h 1313105"/>
                <a:gd name="connsiteX13" fmla="*/ 2010413 w 2269191"/>
                <a:gd name="connsiteY13" fmla="*/ 992363 h 1313105"/>
                <a:gd name="connsiteX14" fmla="*/ 2183960 w 2269191"/>
                <a:gd name="connsiteY14" fmla="*/ 995812 h 1313105"/>
                <a:gd name="connsiteX15" fmla="*/ 2270704 w 2269191"/>
                <a:gd name="connsiteY15" fmla="*/ 966252 h 1313105"/>
                <a:gd name="connsiteX16" fmla="*/ 2238360 w 2269191"/>
                <a:gd name="connsiteY16" fmla="*/ 829526 h 1313105"/>
                <a:gd name="connsiteX17" fmla="*/ 2201448 w 2269191"/>
                <a:gd name="connsiteY17" fmla="*/ 830675 h 1313105"/>
                <a:gd name="connsiteX18" fmla="*/ 2171858 w 2269191"/>
                <a:gd name="connsiteY18" fmla="*/ 852853 h 1313105"/>
                <a:gd name="connsiteX19" fmla="*/ 2146716 w 2269191"/>
                <a:gd name="connsiteY19" fmla="*/ 835123 h 1313105"/>
                <a:gd name="connsiteX20" fmla="*/ 2151163 w 2269191"/>
                <a:gd name="connsiteY20" fmla="*/ 775216 h 1313105"/>
                <a:gd name="connsiteX21" fmla="*/ 2138607 w 2269191"/>
                <a:gd name="connsiteY21" fmla="*/ 689441 h 1313105"/>
                <a:gd name="connsiteX22" fmla="*/ 2160028 w 2269191"/>
                <a:gd name="connsiteY22" fmla="*/ 642090 h 1313105"/>
                <a:gd name="connsiteX23" fmla="*/ 2148955 w 2269191"/>
                <a:gd name="connsiteY23" fmla="*/ 618430 h 1313105"/>
                <a:gd name="connsiteX24" fmla="*/ 2084600 w 2269191"/>
                <a:gd name="connsiteY24" fmla="*/ 572593 h 1313105"/>
                <a:gd name="connsiteX25" fmla="*/ 2131194 w 2269191"/>
                <a:gd name="connsiteY25" fmla="*/ 525999 h 1313105"/>
                <a:gd name="connsiteX26" fmla="*/ 2131194 w 2269191"/>
                <a:gd name="connsiteY26" fmla="*/ 465366 h 1313105"/>
                <a:gd name="connsiteX27" fmla="*/ 2084600 w 2269191"/>
                <a:gd name="connsiteY27" fmla="*/ 418045 h 1313105"/>
                <a:gd name="connsiteX28" fmla="*/ 2114191 w 2269191"/>
                <a:gd name="connsiteY28" fmla="*/ 381799 h 1313105"/>
                <a:gd name="connsiteX29" fmla="*/ 2113464 w 2269191"/>
                <a:gd name="connsiteY29" fmla="*/ 330031 h 1313105"/>
                <a:gd name="connsiteX30" fmla="*/ 2071287 w 2269191"/>
                <a:gd name="connsiteY30" fmla="*/ 318957 h 1313105"/>
                <a:gd name="connsiteX31" fmla="*/ 2055040 w 2269191"/>
                <a:gd name="connsiteY31" fmla="*/ 215422 h 1313105"/>
                <a:gd name="connsiteX32" fmla="*/ 2111437 w 2269191"/>
                <a:gd name="connsiteY32" fmla="*/ 148103 h 1313105"/>
                <a:gd name="connsiteX33" fmla="*/ 2077944 w 2269191"/>
                <a:gd name="connsiteY33" fmla="*/ 88983 h 1313105"/>
                <a:gd name="connsiteX34" fmla="*/ 1976647 w 2269191"/>
                <a:gd name="connsiteY34" fmla="*/ 71949 h 1313105"/>
                <a:gd name="connsiteX35" fmla="*/ 1969991 w 2269191"/>
                <a:gd name="connsiteY35" fmla="*/ 158480 h 1313105"/>
                <a:gd name="connsiteX36" fmla="*/ 1799922 w 2269191"/>
                <a:gd name="connsiteY36" fmla="*/ 214696 h 1313105"/>
                <a:gd name="connsiteX37" fmla="*/ 1734842 w 2269191"/>
                <a:gd name="connsiteY37" fmla="*/ 279020 h 1313105"/>
                <a:gd name="connsiteX38" fmla="*/ 1721530 w 2269191"/>
                <a:gd name="connsiteY38" fmla="*/ 233908 h 1313105"/>
                <a:gd name="connsiteX39" fmla="*/ 1751846 w 2269191"/>
                <a:gd name="connsiteY39" fmla="*/ 205074 h 1313105"/>
                <a:gd name="connsiteX40" fmla="*/ 1671244 w 2269191"/>
                <a:gd name="connsiteY40" fmla="*/ 127438 h 1313105"/>
                <a:gd name="connsiteX41" fmla="*/ 1578056 w 2269191"/>
                <a:gd name="connsiteY41" fmla="*/ 135546 h 1313105"/>
                <a:gd name="connsiteX42" fmla="*/ 1592851 w 2269191"/>
                <a:gd name="connsiteY42" fmla="*/ 100813 h 1313105"/>
                <a:gd name="connsiteX43" fmla="*/ 1563261 w 2269191"/>
                <a:gd name="connsiteY43" fmla="*/ 20211 h 1313105"/>
                <a:gd name="connsiteX44" fmla="*/ 1511160 w 2269191"/>
                <a:gd name="connsiteY44" fmla="*/ 0 h 1313105"/>
                <a:gd name="connsiteX45" fmla="*/ 1507076 w 2269191"/>
                <a:gd name="connsiteY45" fmla="*/ 4901 h 1313105"/>
                <a:gd name="connsiteX46" fmla="*/ 1469619 w 2269191"/>
                <a:gd name="connsiteY46" fmla="*/ 9833 h 1313105"/>
                <a:gd name="connsiteX47" fmla="*/ 1462690 w 2269191"/>
                <a:gd name="connsiteY47" fmla="*/ 27593 h 1313105"/>
                <a:gd name="connsiteX48" fmla="*/ 1509043 w 2269191"/>
                <a:gd name="connsiteY48" fmla="*/ 42389 h 1313105"/>
                <a:gd name="connsiteX49" fmla="*/ 1381847 w 2269191"/>
                <a:gd name="connsiteY49" fmla="*/ 164652 h 1313105"/>
                <a:gd name="connsiteX50" fmla="*/ 1362150 w 2269191"/>
                <a:gd name="connsiteY50" fmla="*/ 200143 h 1313105"/>
                <a:gd name="connsiteX51" fmla="*/ 1337491 w 2269191"/>
                <a:gd name="connsiteY51" fmla="*/ 196210 h 1313105"/>
                <a:gd name="connsiteX52" fmla="*/ 1331561 w 2269191"/>
                <a:gd name="connsiteY52" fmla="*/ 223803 h 1313105"/>
                <a:gd name="connsiteX53" fmla="*/ 1279309 w 2269191"/>
                <a:gd name="connsiteY53" fmla="*/ 226768 h 1313105"/>
                <a:gd name="connsiteX54" fmla="*/ 1277343 w 2269191"/>
                <a:gd name="connsiteY54" fmla="*/ 170552 h 1313105"/>
                <a:gd name="connsiteX55" fmla="*/ 1218193 w 2269191"/>
                <a:gd name="connsiteY55" fmla="*/ 171551 h 1313105"/>
                <a:gd name="connsiteX56" fmla="*/ 1208329 w 2269191"/>
                <a:gd name="connsiteY56" fmla="*/ 199144 h 1313105"/>
                <a:gd name="connsiteX57" fmla="*/ 1178739 w 2269191"/>
                <a:gd name="connsiteY57" fmla="*/ 207041 h 1313105"/>
                <a:gd name="connsiteX58" fmla="*/ 1172839 w 2269191"/>
                <a:gd name="connsiteY58" fmla="*/ 238598 h 1313105"/>
                <a:gd name="connsiteX59" fmla="*/ 1145216 w 2269191"/>
                <a:gd name="connsiteY59" fmla="*/ 254361 h 1313105"/>
                <a:gd name="connsiteX60" fmla="*/ 1143249 w 2269191"/>
                <a:gd name="connsiteY60" fmla="*/ 307612 h 1313105"/>
                <a:gd name="connsiteX61" fmla="*/ 1020985 w 2269191"/>
                <a:gd name="connsiteY61" fmla="*/ 338170 h 1313105"/>
                <a:gd name="connsiteX62" fmla="*/ 988460 w 2269191"/>
                <a:gd name="connsiteY62" fmla="*/ 305645 h 1313105"/>
                <a:gd name="connsiteX63" fmla="*/ 933243 w 2269191"/>
                <a:gd name="connsiteY63" fmla="*/ 364795 h 1313105"/>
                <a:gd name="connsiteX64" fmla="*/ 885922 w 2269191"/>
                <a:gd name="connsiteY64" fmla="*/ 344100 h 1313105"/>
                <a:gd name="connsiteX65" fmla="*/ 893305 w 2269191"/>
                <a:gd name="connsiteY65" fmla="*/ 227736 h 1313105"/>
                <a:gd name="connsiteX66" fmla="*/ 837089 w 2269191"/>
                <a:gd name="connsiteY66" fmla="*/ 233424 h 1313105"/>
                <a:gd name="connsiteX67" fmla="*/ 807529 w 2269191"/>
                <a:gd name="connsiteY67" fmla="*/ 259777 h 1313105"/>
                <a:gd name="connsiteX68" fmla="*/ 762660 w 2269191"/>
                <a:gd name="connsiteY68" fmla="*/ 259535 h 1313105"/>
                <a:gd name="connsiteX69" fmla="*/ 757305 w 2269191"/>
                <a:gd name="connsiteY69" fmla="*/ 282681 h 1313105"/>
                <a:gd name="connsiteX70" fmla="*/ 761662 w 2269191"/>
                <a:gd name="connsiteY70" fmla="*/ 284920 h 1313105"/>
                <a:gd name="connsiteX71" fmla="*/ 745414 w 2269191"/>
                <a:gd name="connsiteY71" fmla="*/ 333753 h 1313105"/>
                <a:gd name="connsiteX72" fmla="*/ 693646 w 2269191"/>
                <a:gd name="connsiteY72" fmla="*/ 350756 h 1313105"/>
                <a:gd name="connsiteX73" fmla="*/ 691437 w 2269191"/>
                <a:gd name="connsiteY73" fmla="*/ 387729 h 1313105"/>
                <a:gd name="connsiteX74" fmla="*/ 667747 w 2269191"/>
                <a:gd name="connsiteY74" fmla="*/ 401768 h 1313105"/>
                <a:gd name="connsiteX75" fmla="*/ 605632 w 2269191"/>
                <a:gd name="connsiteY75" fmla="*/ 507512 h 1313105"/>
                <a:gd name="connsiteX76" fmla="*/ 574589 w 2269191"/>
                <a:gd name="connsiteY76" fmla="*/ 531172 h 1313105"/>
                <a:gd name="connsiteX77" fmla="*/ 560551 w 2269191"/>
                <a:gd name="connsiteY77" fmla="*/ 582940 h 1313105"/>
                <a:gd name="connsiteX78" fmla="*/ 534652 w 2269191"/>
                <a:gd name="connsiteY78" fmla="*/ 600700 h 1313105"/>
                <a:gd name="connsiteX79" fmla="*/ 494714 w 2269191"/>
                <a:gd name="connsiteY79" fmla="*/ 661333 h 1313105"/>
                <a:gd name="connsiteX80" fmla="*/ 462915 w 2269191"/>
                <a:gd name="connsiteY80" fmla="*/ 653194 h 1313105"/>
                <a:gd name="connsiteX81" fmla="*/ 418560 w 2269191"/>
                <a:gd name="connsiteY81" fmla="*/ 690923 h 1313105"/>
                <a:gd name="connsiteX82" fmla="*/ 302468 w 2269191"/>
                <a:gd name="connsiteY82" fmla="*/ 674646 h 1313105"/>
                <a:gd name="connsiteX83" fmla="*/ 292846 w 2269191"/>
                <a:gd name="connsiteY83" fmla="*/ 719001 h 1313105"/>
                <a:gd name="connsiteX84" fmla="*/ 256600 w 2269191"/>
                <a:gd name="connsiteY84" fmla="*/ 719757 h 1313105"/>
                <a:gd name="connsiteX85" fmla="*/ 258839 w 2269191"/>
                <a:gd name="connsiteY85" fmla="*/ 776699 h 1313105"/>
                <a:gd name="connsiteX86" fmla="*/ 231458 w 2269191"/>
                <a:gd name="connsiteY86" fmla="*/ 778907 h 1313105"/>
                <a:gd name="connsiteX87" fmla="*/ 231458 w 2269191"/>
                <a:gd name="connsiteY87" fmla="*/ 826984 h 1313105"/>
                <a:gd name="connsiteX88" fmla="*/ 193184 w 2269191"/>
                <a:gd name="connsiteY88" fmla="*/ 849676 h 1313105"/>
                <a:gd name="connsiteX89" fmla="*/ 235905 w 2269191"/>
                <a:gd name="connsiteY89" fmla="*/ 909794 h 1313105"/>
                <a:gd name="connsiteX90" fmla="*/ 22208 w 2269191"/>
                <a:gd name="connsiteY90" fmla="*/ 1092449 h 1313105"/>
                <a:gd name="connsiteX91" fmla="*/ 20846 w 2269191"/>
                <a:gd name="connsiteY91" fmla="*/ 1091723 h 1313105"/>
                <a:gd name="connsiteX92" fmla="*/ 0 w 2269191"/>
                <a:gd name="connsiteY92" fmla="*/ 1118590 h 13131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269191" h="1313105">
                  <a:moveTo>
                    <a:pt x="53250" y="1107244"/>
                  </a:moveTo>
                  <a:lnTo>
                    <a:pt x="107983" y="1145185"/>
                  </a:lnTo>
                  <a:lnTo>
                    <a:pt x="286432" y="1188088"/>
                  </a:lnTo>
                  <a:lnTo>
                    <a:pt x="359409" y="1238857"/>
                  </a:lnTo>
                  <a:lnTo>
                    <a:pt x="398833" y="1237375"/>
                  </a:lnTo>
                  <a:lnTo>
                    <a:pt x="464881" y="1297524"/>
                  </a:lnTo>
                  <a:lnTo>
                    <a:pt x="706475" y="1286692"/>
                  </a:lnTo>
                  <a:lnTo>
                    <a:pt x="721240" y="1315284"/>
                  </a:lnTo>
                  <a:lnTo>
                    <a:pt x="1024918" y="1299490"/>
                  </a:lnTo>
                  <a:lnTo>
                    <a:pt x="1791027" y="1184155"/>
                  </a:lnTo>
                  <a:lnTo>
                    <a:pt x="1874836" y="1068305"/>
                  </a:lnTo>
                  <a:lnTo>
                    <a:pt x="1888633" y="1033783"/>
                  </a:lnTo>
                  <a:lnTo>
                    <a:pt x="1930053" y="1019472"/>
                  </a:lnTo>
                  <a:lnTo>
                    <a:pt x="2010413" y="992363"/>
                  </a:lnTo>
                  <a:lnTo>
                    <a:pt x="2183960" y="995812"/>
                  </a:lnTo>
                  <a:lnTo>
                    <a:pt x="2270704" y="966252"/>
                  </a:lnTo>
                  <a:lnTo>
                    <a:pt x="2238360" y="829526"/>
                  </a:lnTo>
                  <a:lnTo>
                    <a:pt x="2201448" y="830675"/>
                  </a:lnTo>
                  <a:lnTo>
                    <a:pt x="2171858" y="852853"/>
                  </a:lnTo>
                  <a:lnTo>
                    <a:pt x="2146716" y="835123"/>
                  </a:lnTo>
                  <a:lnTo>
                    <a:pt x="2151163" y="775216"/>
                  </a:lnTo>
                  <a:lnTo>
                    <a:pt x="2138607" y="689441"/>
                  </a:lnTo>
                  <a:lnTo>
                    <a:pt x="2160028" y="642090"/>
                  </a:lnTo>
                  <a:lnTo>
                    <a:pt x="2148955" y="618430"/>
                  </a:lnTo>
                  <a:lnTo>
                    <a:pt x="2084600" y="572593"/>
                  </a:lnTo>
                  <a:lnTo>
                    <a:pt x="2131194" y="525999"/>
                  </a:lnTo>
                  <a:lnTo>
                    <a:pt x="2131194" y="465366"/>
                  </a:lnTo>
                  <a:lnTo>
                    <a:pt x="2084600" y="418045"/>
                  </a:lnTo>
                  <a:lnTo>
                    <a:pt x="2114191" y="381799"/>
                  </a:lnTo>
                  <a:lnTo>
                    <a:pt x="2113464" y="330031"/>
                  </a:lnTo>
                  <a:lnTo>
                    <a:pt x="2071287" y="318957"/>
                  </a:lnTo>
                  <a:lnTo>
                    <a:pt x="2055040" y="215422"/>
                  </a:lnTo>
                  <a:lnTo>
                    <a:pt x="2111437" y="148103"/>
                  </a:lnTo>
                  <a:lnTo>
                    <a:pt x="2077944" y="88983"/>
                  </a:lnTo>
                  <a:lnTo>
                    <a:pt x="1976647" y="71949"/>
                  </a:lnTo>
                  <a:lnTo>
                    <a:pt x="1969991" y="158480"/>
                  </a:lnTo>
                  <a:lnTo>
                    <a:pt x="1799922" y="214696"/>
                  </a:lnTo>
                  <a:lnTo>
                    <a:pt x="1734842" y="279020"/>
                  </a:lnTo>
                  <a:lnTo>
                    <a:pt x="1721530" y="233908"/>
                  </a:lnTo>
                  <a:lnTo>
                    <a:pt x="1751846" y="205074"/>
                  </a:lnTo>
                  <a:lnTo>
                    <a:pt x="1671244" y="127438"/>
                  </a:lnTo>
                  <a:lnTo>
                    <a:pt x="1578056" y="135546"/>
                  </a:lnTo>
                  <a:lnTo>
                    <a:pt x="1592851" y="100813"/>
                  </a:lnTo>
                  <a:lnTo>
                    <a:pt x="1563261" y="20211"/>
                  </a:lnTo>
                  <a:lnTo>
                    <a:pt x="1511160" y="0"/>
                  </a:lnTo>
                  <a:lnTo>
                    <a:pt x="1507076" y="4901"/>
                  </a:lnTo>
                  <a:lnTo>
                    <a:pt x="1469619" y="9833"/>
                  </a:lnTo>
                  <a:lnTo>
                    <a:pt x="1462690" y="27593"/>
                  </a:lnTo>
                  <a:lnTo>
                    <a:pt x="1509043" y="42389"/>
                  </a:lnTo>
                  <a:lnTo>
                    <a:pt x="1381847" y="164652"/>
                  </a:lnTo>
                  <a:lnTo>
                    <a:pt x="1362150" y="200143"/>
                  </a:lnTo>
                  <a:lnTo>
                    <a:pt x="1337491" y="196210"/>
                  </a:lnTo>
                  <a:lnTo>
                    <a:pt x="1331561" y="223803"/>
                  </a:lnTo>
                  <a:lnTo>
                    <a:pt x="1279309" y="226768"/>
                  </a:lnTo>
                  <a:lnTo>
                    <a:pt x="1277343" y="170552"/>
                  </a:lnTo>
                  <a:lnTo>
                    <a:pt x="1218193" y="171551"/>
                  </a:lnTo>
                  <a:lnTo>
                    <a:pt x="1208329" y="199144"/>
                  </a:lnTo>
                  <a:lnTo>
                    <a:pt x="1178739" y="207041"/>
                  </a:lnTo>
                  <a:lnTo>
                    <a:pt x="1172839" y="238598"/>
                  </a:lnTo>
                  <a:lnTo>
                    <a:pt x="1145216" y="254361"/>
                  </a:lnTo>
                  <a:lnTo>
                    <a:pt x="1143249" y="307612"/>
                  </a:lnTo>
                  <a:lnTo>
                    <a:pt x="1020985" y="338170"/>
                  </a:lnTo>
                  <a:lnTo>
                    <a:pt x="988460" y="305645"/>
                  </a:lnTo>
                  <a:lnTo>
                    <a:pt x="933243" y="364795"/>
                  </a:lnTo>
                  <a:lnTo>
                    <a:pt x="885922" y="344100"/>
                  </a:lnTo>
                  <a:lnTo>
                    <a:pt x="893305" y="227736"/>
                  </a:lnTo>
                  <a:lnTo>
                    <a:pt x="837089" y="233424"/>
                  </a:lnTo>
                  <a:lnTo>
                    <a:pt x="807529" y="259777"/>
                  </a:lnTo>
                  <a:lnTo>
                    <a:pt x="762660" y="259535"/>
                  </a:lnTo>
                  <a:lnTo>
                    <a:pt x="757305" y="282681"/>
                  </a:lnTo>
                  <a:lnTo>
                    <a:pt x="761662" y="284920"/>
                  </a:lnTo>
                  <a:lnTo>
                    <a:pt x="745414" y="333753"/>
                  </a:lnTo>
                  <a:lnTo>
                    <a:pt x="693646" y="350756"/>
                  </a:lnTo>
                  <a:lnTo>
                    <a:pt x="691437" y="387729"/>
                  </a:lnTo>
                  <a:lnTo>
                    <a:pt x="667747" y="401768"/>
                  </a:lnTo>
                  <a:lnTo>
                    <a:pt x="605632" y="507512"/>
                  </a:lnTo>
                  <a:lnTo>
                    <a:pt x="574589" y="531172"/>
                  </a:lnTo>
                  <a:lnTo>
                    <a:pt x="560551" y="582940"/>
                  </a:lnTo>
                  <a:lnTo>
                    <a:pt x="534652" y="600700"/>
                  </a:lnTo>
                  <a:lnTo>
                    <a:pt x="494714" y="661333"/>
                  </a:lnTo>
                  <a:lnTo>
                    <a:pt x="462915" y="653194"/>
                  </a:lnTo>
                  <a:lnTo>
                    <a:pt x="418560" y="690923"/>
                  </a:lnTo>
                  <a:lnTo>
                    <a:pt x="302468" y="674646"/>
                  </a:lnTo>
                  <a:lnTo>
                    <a:pt x="292846" y="719001"/>
                  </a:lnTo>
                  <a:lnTo>
                    <a:pt x="256600" y="719757"/>
                  </a:lnTo>
                  <a:lnTo>
                    <a:pt x="258839" y="776699"/>
                  </a:lnTo>
                  <a:lnTo>
                    <a:pt x="231458" y="778907"/>
                  </a:lnTo>
                  <a:lnTo>
                    <a:pt x="231458" y="826984"/>
                  </a:lnTo>
                  <a:lnTo>
                    <a:pt x="193184" y="849676"/>
                  </a:lnTo>
                  <a:lnTo>
                    <a:pt x="235905" y="909794"/>
                  </a:lnTo>
                  <a:lnTo>
                    <a:pt x="22208" y="1092449"/>
                  </a:lnTo>
                  <a:lnTo>
                    <a:pt x="20846" y="1091723"/>
                  </a:lnTo>
                  <a:lnTo>
                    <a:pt x="0" y="1118590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Полилиния: фигура 20">
              <a:extLst>
                <a:ext uri="{FF2B5EF4-FFF2-40B4-BE49-F238E27FC236}">
                  <a16:creationId xmlns:a16="http://schemas.microsoft.com/office/drawing/2014/main" xmlns="" id="{DCE1504D-4F09-420D-8D2E-911D3546B46E}"/>
                </a:ext>
              </a:extLst>
            </p:cNvPr>
            <p:cNvSpPr/>
            <p:nvPr/>
          </p:nvSpPr>
          <p:spPr>
            <a:xfrm>
              <a:off x="3467993" y="2661640"/>
              <a:ext cx="1494641" cy="1204184"/>
            </a:xfrm>
            <a:custGeom>
              <a:avLst/>
              <a:gdLst>
                <a:gd name="connsiteX0" fmla="*/ 1457668 w 1494640"/>
                <a:gd name="connsiteY0" fmla="*/ 973150 h 1204184"/>
                <a:gd name="connsiteX1" fmla="*/ 1444355 w 1494640"/>
                <a:gd name="connsiteY1" fmla="*/ 955057 h 1204184"/>
                <a:gd name="connsiteX2" fmla="*/ 1462842 w 1494640"/>
                <a:gd name="connsiteY2" fmla="*/ 936177 h 1204184"/>
                <a:gd name="connsiteX3" fmla="*/ 1470255 w 1494640"/>
                <a:gd name="connsiteY3" fmla="*/ 877390 h 1204184"/>
                <a:gd name="connsiteX4" fmla="*/ 1497243 w 1494640"/>
                <a:gd name="connsiteY4" fmla="*/ 811584 h 1204184"/>
                <a:gd name="connsiteX5" fmla="*/ 1452131 w 1494640"/>
                <a:gd name="connsiteY5" fmla="*/ 776457 h 1204184"/>
                <a:gd name="connsiteX6" fmla="*/ 1435491 w 1494640"/>
                <a:gd name="connsiteY6" fmla="*/ 754279 h 1204184"/>
                <a:gd name="connsiteX7" fmla="*/ 1393344 w 1494640"/>
                <a:gd name="connsiteY7" fmla="*/ 736156 h 1204184"/>
                <a:gd name="connsiteX8" fmla="*/ 1376340 w 1494640"/>
                <a:gd name="connsiteY8" fmla="*/ 561277 h 1204184"/>
                <a:gd name="connsiteX9" fmla="*/ 1357098 w 1494640"/>
                <a:gd name="connsiteY9" fmla="*/ 558312 h 1204184"/>
                <a:gd name="connsiteX10" fmla="*/ 1325299 w 1494640"/>
                <a:gd name="connsiteY10" fmla="*/ 519130 h 1204184"/>
                <a:gd name="connsiteX11" fmla="*/ 1341939 w 1494640"/>
                <a:gd name="connsiteY11" fmla="*/ 412630 h 1204184"/>
                <a:gd name="connsiteX12" fmla="*/ 1317553 w 1494640"/>
                <a:gd name="connsiteY12" fmla="*/ 388244 h 1204184"/>
                <a:gd name="connsiteX13" fmla="*/ 1316706 w 1494640"/>
                <a:gd name="connsiteY13" fmla="*/ 366974 h 1204184"/>
                <a:gd name="connsiteX14" fmla="*/ 1315556 w 1494640"/>
                <a:gd name="connsiteY14" fmla="*/ 367034 h 1204184"/>
                <a:gd name="connsiteX15" fmla="*/ 1300791 w 1494640"/>
                <a:gd name="connsiteY15" fmla="*/ 338442 h 1204184"/>
                <a:gd name="connsiteX16" fmla="*/ 1059198 w 1494640"/>
                <a:gd name="connsiteY16" fmla="*/ 349274 h 1204184"/>
                <a:gd name="connsiteX17" fmla="*/ 993149 w 1494640"/>
                <a:gd name="connsiteY17" fmla="*/ 289125 h 1204184"/>
                <a:gd name="connsiteX18" fmla="*/ 953726 w 1494640"/>
                <a:gd name="connsiteY18" fmla="*/ 290608 h 1204184"/>
                <a:gd name="connsiteX19" fmla="*/ 880749 w 1494640"/>
                <a:gd name="connsiteY19" fmla="*/ 239838 h 1204184"/>
                <a:gd name="connsiteX20" fmla="*/ 702300 w 1494640"/>
                <a:gd name="connsiteY20" fmla="*/ 196935 h 1204184"/>
                <a:gd name="connsiteX21" fmla="*/ 647567 w 1494640"/>
                <a:gd name="connsiteY21" fmla="*/ 158995 h 1204184"/>
                <a:gd name="connsiteX22" fmla="*/ 594317 w 1494640"/>
                <a:gd name="connsiteY22" fmla="*/ 170341 h 1204184"/>
                <a:gd name="connsiteX23" fmla="*/ 615163 w 1494640"/>
                <a:gd name="connsiteY23" fmla="*/ 143473 h 1204184"/>
                <a:gd name="connsiteX24" fmla="*/ 581760 w 1494640"/>
                <a:gd name="connsiteY24" fmla="*/ 125713 h 1204184"/>
                <a:gd name="connsiteX25" fmla="*/ 582486 w 1494640"/>
                <a:gd name="connsiteY25" fmla="*/ 101297 h 1204184"/>
                <a:gd name="connsiteX26" fmla="*/ 544031 w 1494640"/>
                <a:gd name="connsiteY26" fmla="*/ 49559 h 1204184"/>
                <a:gd name="connsiteX27" fmla="*/ 512232 w 1494640"/>
                <a:gd name="connsiteY27" fmla="*/ 45838 h 1204184"/>
                <a:gd name="connsiteX28" fmla="*/ 488572 w 1494640"/>
                <a:gd name="connsiteY28" fmla="*/ 3691 h 1204184"/>
                <a:gd name="connsiteX29" fmla="*/ 381345 w 1494640"/>
                <a:gd name="connsiteY29" fmla="*/ 0 h 1204184"/>
                <a:gd name="connsiteX30" fmla="*/ 322921 w 1494640"/>
                <a:gd name="connsiteY30" fmla="*/ 130887 h 1204184"/>
                <a:gd name="connsiteX31" fmla="*/ 234211 w 1494640"/>
                <a:gd name="connsiteY31" fmla="*/ 131643 h 1204184"/>
                <a:gd name="connsiteX32" fmla="*/ 233455 w 1494640"/>
                <a:gd name="connsiteY32" fmla="*/ 198176 h 1204184"/>
                <a:gd name="connsiteX33" fmla="*/ 188343 w 1494640"/>
                <a:gd name="connsiteY33" fmla="*/ 198176 h 1204184"/>
                <a:gd name="connsiteX34" fmla="*/ 31587 w 1494640"/>
                <a:gd name="connsiteY34" fmla="*/ 389696 h 1204184"/>
                <a:gd name="connsiteX35" fmla="*/ 23933 w 1494640"/>
                <a:gd name="connsiteY35" fmla="*/ 431116 h 1204184"/>
                <a:gd name="connsiteX36" fmla="*/ 51556 w 1494640"/>
                <a:gd name="connsiteY36" fmla="*/ 431116 h 1204184"/>
                <a:gd name="connsiteX37" fmla="*/ 76184 w 1494640"/>
                <a:gd name="connsiteY37" fmla="*/ 424218 h 1204184"/>
                <a:gd name="connsiteX38" fmla="*/ 58454 w 1494640"/>
                <a:gd name="connsiteY38" fmla="*/ 478436 h 1204184"/>
                <a:gd name="connsiteX39" fmla="*/ 42661 w 1494640"/>
                <a:gd name="connsiteY39" fmla="*/ 457741 h 1204184"/>
                <a:gd name="connsiteX40" fmla="*/ 35762 w 1494640"/>
                <a:gd name="connsiteY40" fmla="*/ 475501 h 1204184"/>
                <a:gd name="connsiteX41" fmla="*/ 17034 w 1494640"/>
                <a:gd name="connsiteY41" fmla="*/ 481401 h 1204184"/>
                <a:gd name="connsiteX42" fmla="*/ 13101 w 1494640"/>
                <a:gd name="connsiteY42" fmla="*/ 513926 h 1204184"/>
                <a:gd name="connsiteX43" fmla="*/ 0 w 1494640"/>
                <a:gd name="connsiteY43" fmla="*/ 529932 h 1204184"/>
                <a:gd name="connsiteX44" fmla="*/ 188585 w 1494640"/>
                <a:gd name="connsiteY44" fmla="*/ 643089 h 1204184"/>
                <a:gd name="connsiteX45" fmla="*/ 361134 w 1494640"/>
                <a:gd name="connsiteY45" fmla="*/ 790011 h 1204184"/>
                <a:gd name="connsiteX46" fmla="*/ 365098 w 1494640"/>
                <a:gd name="connsiteY46" fmla="*/ 823535 h 1204184"/>
                <a:gd name="connsiteX47" fmla="*/ 513957 w 1494640"/>
                <a:gd name="connsiteY47" fmla="*/ 985252 h 1204184"/>
                <a:gd name="connsiteX48" fmla="*/ 717064 w 1494640"/>
                <a:gd name="connsiteY48" fmla="*/ 951729 h 1204184"/>
                <a:gd name="connsiteX49" fmla="*/ 940897 w 1494640"/>
                <a:gd name="connsiteY49" fmla="*/ 951729 h 1204184"/>
                <a:gd name="connsiteX50" fmla="*/ 1004980 w 1494640"/>
                <a:gd name="connsiteY50" fmla="*/ 910309 h 1204184"/>
                <a:gd name="connsiteX51" fmla="*/ 1045401 w 1494640"/>
                <a:gd name="connsiteY51" fmla="*/ 971426 h 1204184"/>
                <a:gd name="connsiteX52" fmla="*/ 1103583 w 1494640"/>
                <a:gd name="connsiteY52" fmla="*/ 1006916 h 1204184"/>
                <a:gd name="connsiteX53" fmla="*/ 1159769 w 1494640"/>
                <a:gd name="connsiteY53" fmla="*/ 1108485 h 1204184"/>
                <a:gd name="connsiteX54" fmla="*/ 1208087 w 1494640"/>
                <a:gd name="connsiteY54" fmla="*/ 1079893 h 1204184"/>
                <a:gd name="connsiteX55" fmla="*/ 1208087 w 1494640"/>
                <a:gd name="connsiteY55" fmla="*/ 1206211 h 1204184"/>
                <a:gd name="connsiteX56" fmla="*/ 1456942 w 1494640"/>
                <a:gd name="connsiteY56" fmla="*/ 995358 h 12041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494640" h="1204184">
                  <a:moveTo>
                    <a:pt x="1457668" y="973150"/>
                  </a:moveTo>
                  <a:lnTo>
                    <a:pt x="1444355" y="955057"/>
                  </a:lnTo>
                  <a:lnTo>
                    <a:pt x="1462842" y="936177"/>
                  </a:lnTo>
                  <a:lnTo>
                    <a:pt x="1470255" y="877390"/>
                  </a:lnTo>
                  <a:lnTo>
                    <a:pt x="1497243" y="811584"/>
                  </a:lnTo>
                  <a:lnTo>
                    <a:pt x="1452131" y="776457"/>
                  </a:lnTo>
                  <a:lnTo>
                    <a:pt x="1435491" y="754279"/>
                  </a:lnTo>
                  <a:lnTo>
                    <a:pt x="1393344" y="736156"/>
                  </a:lnTo>
                  <a:lnTo>
                    <a:pt x="1376340" y="561277"/>
                  </a:lnTo>
                  <a:lnTo>
                    <a:pt x="1357098" y="558312"/>
                  </a:lnTo>
                  <a:lnTo>
                    <a:pt x="1325299" y="519130"/>
                  </a:lnTo>
                  <a:lnTo>
                    <a:pt x="1341939" y="412630"/>
                  </a:lnTo>
                  <a:lnTo>
                    <a:pt x="1317553" y="388244"/>
                  </a:lnTo>
                  <a:lnTo>
                    <a:pt x="1316706" y="366974"/>
                  </a:lnTo>
                  <a:lnTo>
                    <a:pt x="1315556" y="367034"/>
                  </a:lnTo>
                  <a:lnTo>
                    <a:pt x="1300791" y="338442"/>
                  </a:lnTo>
                  <a:lnTo>
                    <a:pt x="1059198" y="349274"/>
                  </a:lnTo>
                  <a:lnTo>
                    <a:pt x="993149" y="289125"/>
                  </a:lnTo>
                  <a:lnTo>
                    <a:pt x="953726" y="290608"/>
                  </a:lnTo>
                  <a:lnTo>
                    <a:pt x="880749" y="239838"/>
                  </a:lnTo>
                  <a:lnTo>
                    <a:pt x="702300" y="196935"/>
                  </a:lnTo>
                  <a:lnTo>
                    <a:pt x="647567" y="158995"/>
                  </a:lnTo>
                  <a:lnTo>
                    <a:pt x="594317" y="170341"/>
                  </a:lnTo>
                  <a:lnTo>
                    <a:pt x="615163" y="143473"/>
                  </a:lnTo>
                  <a:lnTo>
                    <a:pt x="581760" y="125713"/>
                  </a:lnTo>
                  <a:lnTo>
                    <a:pt x="582486" y="101297"/>
                  </a:lnTo>
                  <a:lnTo>
                    <a:pt x="544031" y="49559"/>
                  </a:lnTo>
                  <a:lnTo>
                    <a:pt x="512232" y="45838"/>
                  </a:lnTo>
                  <a:lnTo>
                    <a:pt x="488572" y="3691"/>
                  </a:lnTo>
                  <a:lnTo>
                    <a:pt x="381345" y="0"/>
                  </a:lnTo>
                  <a:lnTo>
                    <a:pt x="322921" y="130887"/>
                  </a:lnTo>
                  <a:lnTo>
                    <a:pt x="234211" y="131643"/>
                  </a:lnTo>
                  <a:lnTo>
                    <a:pt x="233455" y="198176"/>
                  </a:lnTo>
                  <a:lnTo>
                    <a:pt x="188343" y="198176"/>
                  </a:lnTo>
                  <a:lnTo>
                    <a:pt x="31587" y="389696"/>
                  </a:lnTo>
                  <a:lnTo>
                    <a:pt x="23933" y="431116"/>
                  </a:lnTo>
                  <a:lnTo>
                    <a:pt x="51556" y="431116"/>
                  </a:lnTo>
                  <a:lnTo>
                    <a:pt x="76184" y="424218"/>
                  </a:lnTo>
                  <a:lnTo>
                    <a:pt x="58454" y="478436"/>
                  </a:lnTo>
                  <a:lnTo>
                    <a:pt x="42661" y="457741"/>
                  </a:lnTo>
                  <a:lnTo>
                    <a:pt x="35762" y="475501"/>
                  </a:lnTo>
                  <a:lnTo>
                    <a:pt x="17034" y="481401"/>
                  </a:lnTo>
                  <a:lnTo>
                    <a:pt x="13101" y="513926"/>
                  </a:lnTo>
                  <a:lnTo>
                    <a:pt x="0" y="529932"/>
                  </a:lnTo>
                  <a:lnTo>
                    <a:pt x="188585" y="643089"/>
                  </a:lnTo>
                  <a:lnTo>
                    <a:pt x="361134" y="790011"/>
                  </a:lnTo>
                  <a:lnTo>
                    <a:pt x="365098" y="823535"/>
                  </a:lnTo>
                  <a:lnTo>
                    <a:pt x="513957" y="985252"/>
                  </a:lnTo>
                  <a:lnTo>
                    <a:pt x="717064" y="951729"/>
                  </a:lnTo>
                  <a:lnTo>
                    <a:pt x="940897" y="951729"/>
                  </a:lnTo>
                  <a:lnTo>
                    <a:pt x="1004980" y="910309"/>
                  </a:lnTo>
                  <a:lnTo>
                    <a:pt x="1045401" y="971426"/>
                  </a:lnTo>
                  <a:lnTo>
                    <a:pt x="1103583" y="1006916"/>
                  </a:lnTo>
                  <a:lnTo>
                    <a:pt x="1159769" y="1108485"/>
                  </a:lnTo>
                  <a:lnTo>
                    <a:pt x="1208087" y="1079893"/>
                  </a:lnTo>
                  <a:lnTo>
                    <a:pt x="1208087" y="1206211"/>
                  </a:lnTo>
                  <a:lnTo>
                    <a:pt x="1456942" y="995358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Полилиния: фигура 21">
              <a:extLst>
                <a:ext uri="{FF2B5EF4-FFF2-40B4-BE49-F238E27FC236}">
                  <a16:creationId xmlns:a16="http://schemas.microsoft.com/office/drawing/2014/main" xmlns="" id="{1F0671B9-5B43-4746-9896-ADDFD12FCF03}"/>
                </a:ext>
              </a:extLst>
            </p:cNvPr>
            <p:cNvSpPr/>
            <p:nvPr/>
          </p:nvSpPr>
          <p:spPr>
            <a:xfrm>
              <a:off x="4662283" y="3012972"/>
              <a:ext cx="813883" cy="1231414"/>
            </a:xfrm>
            <a:custGeom>
              <a:avLst/>
              <a:gdLst>
                <a:gd name="connsiteX0" fmla="*/ 685266 w 813883"/>
                <a:gd name="connsiteY0" fmla="*/ 701694 h 1231414"/>
                <a:gd name="connsiteX1" fmla="*/ 679335 w 813883"/>
                <a:gd name="connsiteY1" fmla="*/ 667687 h 1231414"/>
                <a:gd name="connsiteX2" fmla="*/ 641637 w 813883"/>
                <a:gd name="connsiteY2" fmla="*/ 609263 h 1231414"/>
                <a:gd name="connsiteX3" fmla="*/ 552896 w 813883"/>
                <a:gd name="connsiteY3" fmla="*/ 586329 h 1231414"/>
                <a:gd name="connsiteX4" fmla="*/ 541066 w 813883"/>
                <a:gd name="connsiteY4" fmla="*/ 553047 h 1231414"/>
                <a:gd name="connsiteX5" fmla="*/ 579521 w 813883"/>
                <a:gd name="connsiteY5" fmla="*/ 421434 h 1231414"/>
                <a:gd name="connsiteX6" fmla="*/ 568417 w 813883"/>
                <a:gd name="connsiteY6" fmla="*/ 319381 h 1231414"/>
                <a:gd name="connsiteX7" fmla="*/ 455290 w 813883"/>
                <a:gd name="connsiteY7" fmla="*/ 64263 h 1231414"/>
                <a:gd name="connsiteX8" fmla="*/ 456743 w 813883"/>
                <a:gd name="connsiteY8" fmla="*/ 26534 h 1231414"/>
                <a:gd name="connsiteX9" fmla="*/ 434565 w 813883"/>
                <a:gd name="connsiteY9" fmla="*/ 25052 h 1231414"/>
                <a:gd name="connsiteX10" fmla="*/ 423522 w 813883"/>
                <a:gd name="connsiteY10" fmla="*/ 0 h 1231414"/>
                <a:gd name="connsiteX11" fmla="*/ 122416 w 813883"/>
                <a:gd name="connsiteY11" fmla="*/ 15642 h 1231414"/>
                <a:gd name="connsiteX12" fmla="*/ 123262 w 813883"/>
                <a:gd name="connsiteY12" fmla="*/ 36912 h 1231414"/>
                <a:gd name="connsiteX13" fmla="*/ 147649 w 813883"/>
                <a:gd name="connsiteY13" fmla="*/ 61298 h 1231414"/>
                <a:gd name="connsiteX14" fmla="*/ 131008 w 813883"/>
                <a:gd name="connsiteY14" fmla="*/ 167799 h 1231414"/>
                <a:gd name="connsiteX15" fmla="*/ 162807 w 813883"/>
                <a:gd name="connsiteY15" fmla="*/ 206980 h 1231414"/>
                <a:gd name="connsiteX16" fmla="*/ 182050 w 813883"/>
                <a:gd name="connsiteY16" fmla="*/ 209945 h 1231414"/>
                <a:gd name="connsiteX17" fmla="*/ 199054 w 813883"/>
                <a:gd name="connsiteY17" fmla="*/ 384825 h 1231414"/>
                <a:gd name="connsiteX18" fmla="*/ 241200 w 813883"/>
                <a:gd name="connsiteY18" fmla="*/ 402948 h 1231414"/>
                <a:gd name="connsiteX19" fmla="*/ 257841 w 813883"/>
                <a:gd name="connsiteY19" fmla="*/ 425125 h 1231414"/>
                <a:gd name="connsiteX20" fmla="*/ 302952 w 813883"/>
                <a:gd name="connsiteY20" fmla="*/ 460252 h 1231414"/>
                <a:gd name="connsiteX21" fmla="*/ 275964 w 813883"/>
                <a:gd name="connsiteY21" fmla="*/ 526059 h 1231414"/>
                <a:gd name="connsiteX22" fmla="*/ 268551 w 813883"/>
                <a:gd name="connsiteY22" fmla="*/ 584846 h 1231414"/>
                <a:gd name="connsiteX23" fmla="*/ 250065 w 813883"/>
                <a:gd name="connsiteY23" fmla="*/ 603726 h 1231414"/>
                <a:gd name="connsiteX24" fmla="*/ 263378 w 813883"/>
                <a:gd name="connsiteY24" fmla="*/ 621819 h 1231414"/>
                <a:gd name="connsiteX25" fmla="*/ 262652 w 813883"/>
                <a:gd name="connsiteY25" fmla="*/ 644027 h 1231414"/>
                <a:gd name="connsiteX26" fmla="*/ 13797 w 813883"/>
                <a:gd name="connsiteY26" fmla="*/ 854880 h 1231414"/>
                <a:gd name="connsiteX27" fmla="*/ 13797 w 813883"/>
                <a:gd name="connsiteY27" fmla="*/ 865621 h 1231414"/>
                <a:gd name="connsiteX28" fmla="*/ 0 w 813883"/>
                <a:gd name="connsiteY28" fmla="*/ 865621 h 1231414"/>
                <a:gd name="connsiteX29" fmla="*/ 1967 w 813883"/>
                <a:gd name="connsiteY29" fmla="*/ 970125 h 1231414"/>
                <a:gd name="connsiteX30" fmla="*/ 94640 w 813883"/>
                <a:gd name="connsiteY30" fmla="*/ 970125 h 1231414"/>
                <a:gd name="connsiteX31" fmla="*/ 140992 w 813883"/>
                <a:gd name="connsiteY31" fmla="*/ 1133537 h 1231414"/>
                <a:gd name="connsiteX32" fmla="*/ 295540 w 813883"/>
                <a:gd name="connsiteY32" fmla="*/ 1111359 h 1231414"/>
                <a:gd name="connsiteX33" fmla="*/ 351755 w 813883"/>
                <a:gd name="connsiteY33" fmla="*/ 1111359 h 1231414"/>
                <a:gd name="connsiteX34" fmla="*/ 351755 w 813883"/>
                <a:gd name="connsiteY34" fmla="*/ 1137984 h 1231414"/>
                <a:gd name="connsiteX35" fmla="*/ 374659 w 813883"/>
                <a:gd name="connsiteY35" fmla="*/ 1137984 h 1231414"/>
                <a:gd name="connsiteX36" fmla="*/ 374659 w 813883"/>
                <a:gd name="connsiteY36" fmla="*/ 1173475 h 1231414"/>
                <a:gd name="connsiteX37" fmla="*/ 353964 w 813883"/>
                <a:gd name="connsiteY37" fmla="*/ 1189026 h 1231414"/>
                <a:gd name="connsiteX38" fmla="*/ 436048 w 813883"/>
                <a:gd name="connsiteY38" fmla="*/ 1232655 h 1231414"/>
                <a:gd name="connsiteX39" fmla="*/ 479677 w 813883"/>
                <a:gd name="connsiteY39" fmla="*/ 1232655 h 1231414"/>
                <a:gd name="connsiteX40" fmla="*/ 479677 w 813883"/>
                <a:gd name="connsiteY40" fmla="*/ 1206030 h 1231414"/>
                <a:gd name="connsiteX41" fmla="*/ 463399 w 813883"/>
                <a:gd name="connsiteY41" fmla="*/ 1195682 h 1231414"/>
                <a:gd name="connsiteX42" fmla="*/ 460464 w 813883"/>
                <a:gd name="connsiteY42" fmla="*/ 1157227 h 1231414"/>
                <a:gd name="connsiteX43" fmla="*/ 447878 w 813883"/>
                <a:gd name="connsiteY43" fmla="*/ 1146849 h 1231414"/>
                <a:gd name="connsiteX44" fmla="*/ 473021 w 813883"/>
                <a:gd name="connsiteY44" fmla="*/ 1125428 h 1231414"/>
                <a:gd name="connsiteX45" fmla="*/ 473021 w 813883"/>
                <a:gd name="connsiteY45" fmla="*/ 1151297 h 1231414"/>
                <a:gd name="connsiteX46" fmla="*/ 490781 w 813883"/>
                <a:gd name="connsiteY46" fmla="*/ 1139467 h 1231414"/>
                <a:gd name="connsiteX47" fmla="*/ 490781 w 813883"/>
                <a:gd name="connsiteY47" fmla="*/ 1116533 h 1231414"/>
                <a:gd name="connsiteX48" fmla="*/ 526271 w 813883"/>
                <a:gd name="connsiteY48" fmla="*/ 1081043 h 1231414"/>
                <a:gd name="connsiteX49" fmla="*/ 526271 w 813883"/>
                <a:gd name="connsiteY49" fmla="*/ 1050000 h 1231414"/>
                <a:gd name="connsiteX50" fmla="*/ 553622 w 813883"/>
                <a:gd name="connsiteY50" fmla="*/ 1024101 h 1231414"/>
                <a:gd name="connsiteX51" fmla="*/ 597251 w 813883"/>
                <a:gd name="connsiteY51" fmla="*/ 1018201 h 1231414"/>
                <a:gd name="connsiteX52" fmla="*/ 590595 w 813883"/>
                <a:gd name="connsiteY52" fmla="*/ 1005615 h 1231414"/>
                <a:gd name="connsiteX53" fmla="*/ 620912 w 813883"/>
                <a:gd name="connsiteY53" fmla="*/ 971607 h 1231414"/>
                <a:gd name="connsiteX54" fmla="*/ 669714 w 813883"/>
                <a:gd name="connsiteY54" fmla="*/ 950912 h 1231414"/>
                <a:gd name="connsiteX55" fmla="*/ 728138 w 813883"/>
                <a:gd name="connsiteY55" fmla="*/ 889523 h 1231414"/>
                <a:gd name="connsiteX56" fmla="*/ 728138 w 813883"/>
                <a:gd name="connsiteY56" fmla="*/ 868071 h 1231414"/>
                <a:gd name="connsiteX57" fmla="*/ 747381 w 813883"/>
                <a:gd name="connsiteY57" fmla="*/ 847377 h 1231414"/>
                <a:gd name="connsiteX58" fmla="*/ 768076 w 813883"/>
                <a:gd name="connsiteY58" fmla="*/ 867345 h 1231414"/>
                <a:gd name="connsiteX59" fmla="*/ 782115 w 813883"/>
                <a:gd name="connsiteY59" fmla="*/ 867345 h 1231414"/>
                <a:gd name="connsiteX60" fmla="*/ 786563 w 813883"/>
                <a:gd name="connsiteY60" fmla="*/ 842929 h 1231414"/>
                <a:gd name="connsiteX61" fmla="*/ 813914 w 813883"/>
                <a:gd name="connsiteY61" fmla="*/ 803747 h 1231414"/>
                <a:gd name="connsiteX62" fmla="*/ 814277 w 813883"/>
                <a:gd name="connsiteY62" fmla="*/ 800843 h 1231414"/>
                <a:gd name="connsiteX63" fmla="*/ 758455 w 813883"/>
                <a:gd name="connsiteY63" fmla="*/ 747532 h 1231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813883" h="1231414">
                  <a:moveTo>
                    <a:pt x="685266" y="701694"/>
                  </a:moveTo>
                  <a:lnTo>
                    <a:pt x="679335" y="667687"/>
                  </a:lnTo>
                  <a:lnTo>
                    <a:pt x="641637" y="609263"/>
                  </a:lnTo>
                  <a:lnTo>
                    <a:pt x="552896" y="586329"/>
                  </a:lnTo>
                  <a:lnTo>
                    <a:pt x="541066" y="553047"/>
                  </a:lnTo>
                  <a:lnTo>
                    <a:pt x="579521" y="421434"/>
                  </a:lnTo>
                  <a:lnTo>
                    <a:pt x="568417" y="319381"/>
                  </a:lnTo>
                  <a:lnTo>
                    <a:pt x="455290" y="64263"/>
                  </a:lnTo>
                  <a:lnTo>
                    <a:pt x="456743" y="26534"/>
                  </a:lnTo>
                  <a:lnTo>
                    <a:pt x="434565" y="25052"/>
                  </a:lnTo>
                  <a:lnTo>
                    <a:pt x="423522" y="0"/>
                  </a:lnTo>
                  <a:lnTo>
                    <a:pt x="122416" y="15642"/>
                  </a:lnTo>
                  <a:lnTo>
                    <a:pt x="123262" y="36912"/>
                  </a:lnTo>
                  <a:lnTo>
                    <a:pt x="147649" y="61298"/>
                  </a:lnTo>
                  <a:lnTo>
                    <a:pt x="131008" y="167799"/>
                  </a:lnTo>
                  <a:lnTo>
                    <a:pt x="162807" y="206980"/>
                  </a:lnTo>
                  <a:lnTo>
                    <a:pt x="182050" y="209945"/>
                  </a:lnTo>
                  <a:lnTo>
                    <a:pt x="199054" y="384825"/>
                  </a:lnTo>
                  <a:lnTo>
                    <a:pt x="241200" y="402948"/>
                  </a:lnTo>
                  <a:lnTo>
                    <a:pt x="257841" y="425125"/>
                  </a:lnTo>
                  <a:lnTo>
                    <a:pt x="302952" y="460252"/>
                  </a:lnTo>
                  <a:lnTo>
                    <a:pt x="275964" y="526059"/>
                  </a:lnTo>
                  <a:lnTo>
                    <a:pt x="268551" y="584846"/>
                  </a:lnTo>
                  <a:lnTo>
                    <a:pt x="250065" y="603726"/>
                  </a:lnTo>
                  <a:lnTo>
                    <a:pt x="263378" y="621819"/>
                  </a:lnTo>
                  <a:lnTo>
                    <a:pt x="262652" y="644027"/>
                  </a:lnTo>
                  <a:lnTo>
                    <a:pt x="13797" y="854880"/>
                  </a:lnTo>
                  <a:lnTo>
                    <a:pt x="13797" y="865621"/>
                  </a:lnTo>
                  <a:lnTo>
                    <a:pt x="0" y="865621"/>
                  </a:lnTo>
                  <a:lnTo>
                    <a:pt x="1967" y="970125"/>
                  </a:lnTo>
                  <a:lnTo>
                    <a:pt x="94640" y="970125"/>
                  </a:lnTo>
                  <a:lnTo>
                    <a:pt x="140992" y="1133537"/>
                  </a:lnTo>
                  <a:lnTo>
                    <a:pt x="295540" y="1111359"/>
                  </a:lnTo>
                  <a:lnTo>
                    <a:pt x="351755" y="1111359"/>
                  </a:lnTo>
                  <a:lnTo>
                    <a:pt x="351755" y="1137984"/>
                  </a:lnTo>
                  <a:lnTo>
                    <a:pt x="374659" y="1137984"/>
                  </a:lnTo>
                  <a:lnTo>
                    <a:pt x="374659" y="1173475"/>
                  </a:lnTo>
                  <a:lnTo>
                    <a:pt x="353964" y="1189026"/>
                  </a:lnTo>
                  <a:lnTo>
                    <a:pt x="436048" y="1232655"/>
                  </a:lnTo>
                  <a:lnTo>
                    <a:pt x="479677" y="1232655"/>
                  </a:lnTo>
                  <a:lnTo>
                    <a:pt x="479677" y="1206030"/>
                  </a:lnTo>
                  <a:lnTo>
                    <a:pt x="463399" y="1195682"/>
                  </a:lnTo>
                  <a:lnTo>
                    <a:pt x="460464" y="1157227"/>
                  </a:lnTo>
                  <a:lnTo>
                    <a:pt x="447878" y="1146849"/>
                  </a:lnTo>
                  <a:lnTo>
                    <a:pt x="473021" y="1125428"/>
                  </a:lnTo>
                  <a:lnTo>
                    <a:pt x="473021" y="1151297"/>
                  </a:lnTo>
                  <a:lnTo>
                    <a:pt x="490781" y="1139467"/>
                  </a:lnTo>
                  <a:lnTo>
                    <a:pt x="490781" y="1116533"/>
                  </a:lnTo>
                  <a:lnTo>
                    <a:pt x="526271" y="1081043"/>
                  </a:lnTo>
                  <a:lnTo>
                    <a:pt x="526271" y="1050000"/>
                  </a:lnTo>
                  <a:lnTo>
                    <a:pt x="553622" y="1024101"/>
                  </a:lnTo>
                  <a:lnTo>
                    <a:pt x="597251" y="1018201"/>
                  </a:lnTo>
                  <a:lnTo>
                    <a:pt x="590595" y="1005615"/>
                  </a:lnTo>
                  <a:lnTo>
                    <a:pt x="620912" y="971607"/>
                  </a:lnTo>
                  <a:lnTo>
                    <a:pt x="669714" y="950912"/>
                  </a:lnTo>
                  <a:lnTo>
                    <a:pt x="728138" y="889523"/>
                  </a:lnTo>
                  <a:lnTo>
                    <a:pt x="728138" y="868071"/>
                  </a:lnTo>
                  <a:lnTo>
                    <a:pt x="747381" y="847377"/>
                  </a:lnTo>
                  <a:lnTo>
                    <a:pt x="768076" y="867345"/>
                  </a:lnTo>
                  <a:lnTo>
                    <a:pt x="782115" y="867345"/>
                  </a:lnTo>
                  <a:lnTo>
                    <a:pt x="786563" y="842929"/>
                  </a:lnTo>
                  <a:lnTo>
                    <a:pt x="813914" y="803747"/>
                  </a:lnTo>
                  <a:lnTo>
                    <a:pt x="814277" y="800843"/>
                  </a:lnTo>
                  <a:lnTo>
                    <a:pt x="758455" y="74753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Полилиния: фигура 22">
              <a:extLst>
                <a:ext uri="{FF2B5EF4-FFF2-40B4-BE49-F238E27FC236}">
                  <a16:creationId xmlns:a16="http://schemas.microsoft.com/office/drawing/2014/main" xmlns="" id="{D36A964A-9B31-4083-9498-DC702592CC3C}"/>
                </a:ext>
              </a:extLst>
            </p:cNvPr>
            <p:cNvSpPr/>
            <p:nvPr/>
          </p:nvSpPr>
          <p:spPr>
            <a:xfrm>
              <a:off x="5828194" y="2489333"/>
              <a:ext cx="1310080" cy="1061981"/>
            </a:xfrm>
            <a:custGeom>
              <a:avLst/>
              <a:gdLst>
                <a:gd name="connsiteX0" fmla="*/ 1286722 w 1310079"/>
                <a:gd name="connsiteY0" fmla="*/ 248461 h 1061981"/>
                <a:gd name="connsiteX1" fmla="*/ 1244818 w 1310079"/>
                <a:gd name="connsiteY1" fmla="*/ 228765 h 1061981"/>
                <a:gd name="connsiteX2" fmla="*/ 1243608 w 1310079"/>
                <a:gd name="connsiteY2" fmla="*/ 221443 h 1061981"/>
                <a:gd name="connsiteX3" fmla="*/ 1220159 w 1310079"/>
                <a:gd name="connsiteY3" fmla="*/ 220626 h 1061981"/>
                <a:gd name="connsiteX4" fmla="*/ 1218193 w 1310079"/>
                <a:gd name="connsiteY4" fmla="*/ 205105 h 1061981"/>
                <a:gd name="connsiteX5" fmla="*/ 1097896 w 1310079"/>
                <a:gd name="connsiteY5" fmla="*/ 98604 h 1061981"/>
                <a:gd name="connsiteX6" fmla="*/ 1096413 w 1310079"/>
                <a:gd name="connsiteY6" fmla="*/ 60633 h 1061981"/>
                <a:gd name="connsiteX7" fmla="*/ 975147 w 1310079"/>
                <a:gd name="connsiteY7" fmla="*/ 66079 h 1061981"/>
                <a:gd name="connsiteX8" fmla="*/ 940625 w 1310079"/>
                <a:gd name="connsiteY8" fmla="*/ 54733 h 1061981"/>
                <a:gd name="connsiteX9" fmla="*/ 889614 w 1310079"/>
                <a:gd name="connsiteY9" fmla="*/ 51768 h 1061981"/>
                <a:gd name="connsiteX10" fmla="*/ 858541 w 1310079"/>
                <a:gd name="connsiteY10" fmla="*/ 31073 h 1061981"/>
                <a:gd name="connsiteX11" fmla="*/ 768318 w 1310079"/>
                <a:gd name="connsiteY11" fmla="*/ 72463 h 1061981"/>
                <a:gd name="connsiteX12" fmla="*/ 710650 w 1310079"/>
                <a:gd name="connsiteY12" fmla="*/ 13312 h 1061981"/>
                <a:gd name="connsiteX13" fmla="*/ 672952 w 1310079"/>
                <a:gd name="connsiteY13" fmla="*/ 28108 h 1061981"/>
                <a:gd name="connsiteX14" fmla="*/ 566451 w 1310079"/>
                <a:gd name="connsiteY14" fmla="*/ 0 h 1061981"/>
                <a:gd name="connsiteX15" fmla="*/ 554621 w 1310079"/>
                <a:gd name="connsiteY15" fmla="*/ 31073 h 1061981"/>
                <a:gd name="connsiteX16" fmla="*/ 518374 w 1310079"/>
                <a:gd name="connsiteY16" fmla="*/ 31799 h 1061981"/>
                <a:gd name="connsiteX17" fmla="*/ 506544 w 1310079"/>
                <a:gd name="connsiteY17" fmla="*/ 52524 h 1061981"/>
                <a:gd name="connsiteX18" fmla="*/ 472476 w 1310079"/>
                <a:gd name="connsiteY18" fmla="*/ 53583 h 1061981"/>
                <a:gd name="connsiteX19" fmla="*/ 504820 w 1310079"/>
                <a:gd name="connsiteY19" fmla="*/ 190309 h 1061981"/>
                <a:gd name="connsiteX20" fmla="*/ 418076 w 1310079"/>
                <a:gd name="connsiteY20" fmla="*/ 219869 h 1061981"/>
                <a:gd name="connsiteX21" fmla="*/ 244528 w 1310079"/>
                <a:gd name="connsiteY21" fmla="*/ 216420 h 1061981"/>
                <a:gd name="connsiteX22" fmla="*/ 164168 w 1310079"/>
                <a:gd name="connsiteY22" fmla="*/ 243530 h 1061981"/>
                <a:gd name="connsiteX23" fmla="*/ 122748 w 1310079"/>
                <a:gd name="connsiteY23" fmla="*/ 257841 h 1061981"/>
                <a:gd name="connsiteX24" fmla="*/ 108951 w 1310079"/>
                <a:gd name="connsiteY24" fmla="*/ 292363 h 1061981"/>
                <a:gd name="connsiteX25" fmla="*/ 25143 w 1310079"/>
                <a:gd name="connsiteY25" fmla="*/ 408212 h 1061981"/>
                <a:gd name="connsiteX26" fmla="*/ 18880 w 1310079"/>
                <a:gd name="connsiteY26" fmla="*/ 409150 h 1061981"/>
                <a:gd name="connsiteX27" fmla="*/ 0 w 1310079"/>
                <a:gd name="connsiteY27" fmla="*/ 470691 h 1061981"/>
                <a:gd name="connsiteX28" fmla="*/ 53734 w 1310079"/>
                <a:gd name="connsiteY28" fmla="*/ 588628 h 1061981"/>
                <a:gd name="connsiteX29" fmla="*/ 64597 w 1310079"/>
                <a:gd name="connsiteY29" fmla="*/ 637945 h 1061981"/>
                <a:gd name="connsiteX30" fmla="*/ 130645 w 1310079"/>
                <a:gd name="connsiteY30" fmla="*/ 675402 h 1061981"/>
                <a:gd name="connsiteX31" fmla="*/ 158269 w 1310079"/>
                <a:gd name="connsiteY31" fmla="*/ 741450 h 1061981"/>
                <a:gd name="connsiteX32" fmla="*/ 237146 w 1310079"/>
                <a:gd name="connsiteY32" fmla="*/ 751314 h 1061981"/>
                <a:gd name="connsiteX33" fmla="*/ 261774 w 1310079"/>
                <a:gd name="connsiteY33" fmla="*/ 772040 h 1061981"/>
                <a:gd name="connsiteX34" fmla="*/ 256842 w 1310079"/>
                <a:gd name="connsiteY34" fmla="*/ 851884 h 1061981"/>
                <a:gd name="connsiteX35" fmla="*/ 276569 w 1310079"/>
                <a:gd name="connsiteY35" fmla="*/ 885408 h 1061981"/>
                <a:gd name="connsiteX36" fmla="*/ 275601 w 1310079"/>
                <a:gd name="connsiteY36" fmla="*/ 910067 h 1061981"/>
                <a:gd name="connsiteX37" fmla="*/ 310093 w 1310079"/>
                <a:gd name="connsiteY37" fmla="*/ 933727 h 1061981"/>
                <a:gd name="connsiteX38" fmla="*/ 323889 w 1310079"/>
                <a:gd name="connsiteY38" fmla="*/ 987945 h 1061981"/>
                <a:gd name="connsiteX39" fmla="*/ 375173 w 1310079"/>
                <a:gd name="connsiteY39" fmla="*/ 1020501 h 1061981"/>
                <a:gd name="connsiteX40" fmla="*/ 385036 w 1310079"/>
                <a:gd name="connsiteY40" fmla="*/ 1044161 h 1061981"/>
                <a:gd name="connsiteX41" fmla="*/ 417078 w 1310079"/>
                <a:gd name="connsiteY41" fmla="*/ 1064947 h 1061981"/>
                <a:gd name="connsiteX42" fmla="*/ 417078 w 1310079"/>
                <a:gd name="connsiteY42" fmla="*/ 1049334 h 1061981"/>
                <a:gd name="connsiteX43" fmla="*/ 433355 w 1310079"/>
                <a:gd name="connsiteY43" fmla="*/ 1039713 h 1061981"/>
                <a:gd name="connsiteX44" fmla="*/ 452568 w 1310079"/>
                <a:gd name="connsiteY44" fmla="*/ 1047126 h 1061981"/>
                <a:gd name="connsiteX45" fmla="*/ 481402 w 1310079"/>
                <a:gd name="connsiteY45" fmla="*/ 1034539 h 1061981"/>
                <a:gd name="connsiteX46" fmla="*/ 499888 w 1310079"/>
                <a:gd name="connsiteY46" fmla="*/ 1047126 h 1061981"/>
                <a:gd name="connsiteX47" fmla="*/ 523548 w 1310079"/>
                <a:gd name="connsiteY47" fmla="*/ 1024918 h 1061981"/>
                <a:gd name="connsiteX48" fmla="*/ 556829 w 1310079"/>
                <a:gd name="connsiteY48" fmla="*/ 1024918 h 1061981"/>
                <a:gd name="connsiteX49" fmla="*/ 572381 w 1310079"/>
                <a:gd name="connsiteY49" fmla="*/ 1004980 h 1061981"/>
                <a:gd name="connsiteX50" fmla="*/ 624118 w 1310079"/>
                <a:gd name="connsiteY50" fmla="*/ 993875 h 1061981"/>
                <a:gd name="connsiteX51" fmla="*/ 633740 w 1310079"/>
                <a:gd name="connsiteY51" fmla="*/ 1008671 h 1061981"/>
                <a:gd name="connsiteX52" fmla="*/ 654465 w 1310079"/>
                <a:gd name="connsiteY52" fmla="*/ 1008671 h 1061981"/>
                <a:gd name="connsiteX53" fmla="*/ 681060 w 1310079"/>
                <a:gd name="connsiteY53" fmla="*/ 993119 h 1061981"/>
                <a:gd name="connsiteX54" fmla="*/ 769801 w 1310079"/>
                <a:gd name="connsiteY54" fmla="*/ 993119 h 1061981"/>
                <a:gd name="connsiteX55" fmla="*/ 783870 w 1310079"/>
                <a:gd name="connsiteY55" fmla="*/ 979837 h 1061981"/>
                <a:gd name="connsiteX56" fmla="*/ 811947 w 1310079"/>
                <a:gd name="connsiteY56" fmla="*/ 979837 h 1061981"/>
                <a:gd name="connsiteX57" fmla="*/ 832672 w 1310079"/>
                <a:gd name="connsiteY57" fmla="*/ 962077 h 1061981"/>
                <a:gd name="connsiteX58" fmla="*/ 849676 w 1310079"/>
                <a:gd name="connsiteY58" fmla="*/ 976115 h 1061981"/>
                <a:gd name="connsiteX59" fmla="*/ 922895 w 1310079"/>
                <a:gd name="connsiteY59" fmla="*/ 976115 h 1061981"/>
                <a:gd name="connsiteX60" fmla="*/ 944317 w 1310079"/>
                <a:gd name="connsiteY60" fmla="*/ 954694 h 1061981"/>
                <a:gd name="connsiteX61" fmla="*/ 944317 w 1310079"/>
                <a:gd name="connsiteY61" fmla="*/ 988702 h 1061981"/>
                <a:gd name="connsiteX62" fmla="*/ 1009397 w 1310079"/>
                <a:gd name="connsiteY62" fmla="*/ 1024192 h 1061981"/>
                <a:gd name="connsiteX63" fmla="*/ 1022709 w 1310079"/>
                <a:gd name="connsiteY63" fmla="*/ 1008671 h 1061981"/>
                <a:gd name="connsiteX64" fmla="*/ 1079651 w 1310079"/>
                <a:gd name="connsiteY64" fmla="*/ 1008671 h 1061981"/>
                <a:gd name="connsiteX65" fmla="*/ 1119589 w 1310079"/>
                <a:gd name="connsiteY65" fmla="*/ 1053026 h 1061981"/>
                <a:gd name="connsiteX66" fmla="*/ 1132902 w 1310079"/>
                <a:gd name="connsiteY66" fmla="*/ 1028639 h 1061981"/>
                <a:gd name="connsiteX67" fmla="*/ 1115898 w 1310079"/>
                <a:gd name="connsiteY67" fmla="*/ 1011605 h 1061981"/>
                <a:gd name="connsiteX68" fmla="*/ 1114415 w 1310079"/>
                <a:gd name="connsiteY68" fmla="*/ 976115 h 1061981"/>
                <a:gd name="connsiteX69" fmla="*/ 1098138 w 1310079"/>
                <a:gd name="connsiteY69" fmla="*/ 956903 h 1061981"/>
                <a:gd name="connsiteX70" fmla="*/ 1100346 w 1310079"/>
                <a:gd name="connsiteY70" fmla="*/ 916239 h 1061981"/>
                <a:gd name="connsiteX71" fmla="*/ 1144732 w 1310079"/>
                <a:gd name="connsiteY71" fmla="*/ 881475 h 1061981"/>
                <a:gd name="connsiteX72" fmla="*/ 1115141 w 1310079"/>
                <a:gd name="connsiteY72" fmla="*/ 871854 h 1061981"/>
                <a:gd name="connsiteX73" fmla="*/ 1114415 w 1310079"/>
                <a:gd name="connsiteY73" fmla="*/ 855576 h 1061981"/>
                <a:gd name="connsiteX74" fmla="*/ 1163218 w 1310079"/>
                <a:gd name="connsiteY74" fmla="*/ 823777 h 1061981"/>
                <a:gd name="connsiteX75" fmla="*/ 1155079 w 1310079"/>
                <a:gd name="connsiteY75" fmla="*/ 787561 h 1061981"/>
                <a:gd name="connsiteX76" fmla="*/ 1141040 w 1310079"/>
                <a:gd name="connsiteY76" fmla="*/ 786078 h 1061981"/>
                <a:gd name="connsiteX77" fmla="*/ 1140284 w 1310079"/>
                <a:gd name="connsiteY77" fmla="*/ 752796 h 1061981"/>
                <a:gd name="connsiteX78" fmla="*/ 1073751 w 1310079"/>
                <a:gd name="connsiteY78" fmla="*/ 662574 h 1061981"/>
                <a:gd name="connsiteX79" fmla="*/ 1029366 w 1310079"/>
                <a:gd name="connsiteY79" fmla="*/ 547964 h 1061981"/>
                <a:gd name="connsiteX80" fmla="*/ 1028640 w 1310079"/>
                <a:gd name="connsiteY80" fmla="*/ 516891 h 1061981"/>
                <a:gd name="connsiteX81" fmla="*/ 993149 w 1310079"/>
                <a:gd name="connsiteY81" fmla="*/ 494714 h 1061981"/>
                <a:gd name="connsiteX82" fmla="*/ 983528 w 1310079"/>
                <a:gd name="connsiteY82" fmla="*/ 474745 h 1061981"/>
                <a:gd name="connsiteX83" fmla="*/ 965042 w 1310079"/>
                <a:gd name="connsiteY83" fmla="*/ 494714 h 1061981"/>
                <a:gd name="connsiteX84" fmla="*/ 944317 w 1310079"/>
                <a:gd name="connsiteY84" fmla="*/ 467363 h 1061981"/>
                <a:gd name="connsiteX85" fmla="*/ 964286 w 1310079"/>
                <a:gd name="connsiteY85" fmla="*/ 433355 h 1061981"/>
                <a:gd name="connsiteX86" fmla="*/ 991667 w 1310079"/>
                <a:gd name="connsiteY86" fmla="*/ 434081 h 1061981"/>
                <a:gd name="connsiteX87" fmla="*/ 1012362 w 1310079"/>
                <a:gd name="connsiteY87" fmla="*/ 422251 h 1061981"/>
                <a:gd name="connsiteX88" fmla="*/ 1013088 w 1310079"/>
                <a:gd name="connsiteY88" fmla="*/ 403765 h 1061981"/>
                <a:gd name="connsiteX89" fmla="*/ 1036779 w 1310079"/>
                <a:gd name="connsiteY89" fmla="*/ 403039 h 1061981"/>
                <a:gd name="connsiteX90" fmla="*/ 1048609 w 1310079"/>
                <a:gd name="connsiteY90" fmla="*/ 388244 h 1061981"/>
                <a:gd name="connsiteX91" fmla="*/ 1078169 w 1310079"/>
                <a:gd name="connsiteY91" fmla="*/ 386005 h 1061981"/>
                <a:gd name="connsiteX92" fmla="*/ 1183187 w 1310079"/>
                <a:gd name="connsiteY92" fmla="*/ 298020 h 1061981"/>
                <a:gd name="connsiteX93" fmla="*/ 1223124 w 1310079"/>
                <a:gd name="connsiteY93" fmla="*/ 323163 h 1061981"/>
                <a:gd name="connsiteX94" fmla="*/ 1265271 w 1310079"/>
                <a:gd name="connsiteY94" fmla="*/ 308368 h 1061981"/>
                <a:gd name="connsiteX95" fmla="*/ 1294831 w 1310079"/>
                <a:gd name="connsiteY95" fmla="*/ 313542 h 1061981"/>
                <a:gd name="connsiteX96" fmla="*/ 1311109 w 1310079"/>
                <a:gd name="connsiteY96" fmla="*/ 295812 h 1061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1310079" h="1061981">
                  <a:moveTo>
                    <a:pt x="1286722" y="248461"/>
                  </a:moveTo>
                  <a:lnTo>
                    <a:pt x="1244818" y="228765"/>
                  </a:lnTo>
                  <a:lnTo>
                    <a:pt x="1243608" y="221443"/>
                  </a:lnTo>
                  <a:lnTo>
                    <a:pt x="1220159" y="220626"/>
                  </a:lnTo>
                  <a:lnTo>
                    <a:pt x="1218193" y="205105"/>
                  </a:lnTo>
                  <a:lnTo>
                    <a:pt x="1097896" y="98604"/>
                  </a:lnTo>
                  <a:lnTo>
                    <a:pt x="1096413" y="60633"/>
                  </a:lnTo>
                  <a:lnTo>
                    <a:pt x="975147" y="66079"/>
                  </a:lnTo>
                  <a:lnTo>
                    <a:pt x="940625" y="54733"/>
                  </a:lnTo>
                  <a:lnTo>
                    <a:pt x="889614" y="51768"/>
                  </a:lnTo>
                  <a:lnTo>
                    <a:pt x="858541" y="31073"/>
                  </a:lnTo>
                  <a:lnTo>
                    <a:pt x="768318" y="72463"/>
                  </a:lnTo>
                  <a:lnTo>
                    <a:pt x="710650" y="13312"/>
                  </a:lnTo>
                  <a:lnTo>
                    <a:pt x="672952" y="28108"/>
                  </a:lnTo>
                  <a:lnTo>
                    <a:pt x="566451" y="0"/>
                  </a:lnTo>
                  <a:lnTo>
                    <a:pt x="554621" y="31073"/>
                  </a:lnTo>
                  <a:lnTo>
                    <a:pt x="518374" y="31799"/>
                  </a:lnTo>
                  <a:lnTo>
                    <a:pt x="506544" y="52524"/>
                  </a:lnTo>
                  <a:lnTo>
                    <a:pt x="472476" y="53583"/>
                  </a:lnTo>
                  <a:lnTo>
                    <a:pt x="504820" y="190309"/>
                  </a:lnTo>
                  <a:lnTo>
                    <a:pt x="418076" y="219869"/>
                  </a:lnTo>
                  <a:lnTo>
                    <a:pt x="244528" y="216420"/>
                  </a:lnTo>
                  <a:lnTo>
                    <a:pt x="164168" y="243530"/>
                  </a:lnTo>
                  <a:lnTo>
                    <a:pt x="122748" y="257841"/>
                  </a:lnTo>
                  <a:lnTo>
                    <a:pt x="108951" y="292363"/>
                  </a:lnTo>
                  <a:lnTo>
                    <a:pt x="25143" y="408212"/>
                  </a:lnTo>
                  <a:lnTo>
                    <a:pt x="18880" y="409150"/>
                  </a:lnTo>
                  <a:lnTo>
                    <a:pt x="0" y="470691"/>
                  </a:lnTo>
                  <a:lnTo>
                    <a:pt x="53734" y="588628"/>
                  </a:lnTo>
                  <a:lnTo>
                    <a:pt x="64597" y="637945"/>
                  </a:lnTo>
                  <a:lnTo>
                    <a:pt x="130645" y="675402"/>
                  </a:lnTo>
                  <a:lnTo>
                    <a:pt x="158269" y="741450"/>
                  </a:lnTo>
                  <a:lnTo>
                    <a:pt x="237146" y="751314"/>
                  </a:lnTo>
                  <a:lnTo>
                    <a:pt x="261774" y="772040"/>
                  </a:lnTo>
                  <a:lnTo>
                    <a:pt x="256842" y="851884"/>
                  </a:lnTo>
                  <a:lnTo>
                    <a:pt x="276569" y="885408"/>
                  </a:lnTo>
                  <a:lnTo>
                    <a:pt x="275601" y="910067"/>
                  </a:lnTo>
                  <a:lnTo>
                    <a:pt x="310093" y="933727"/>
                  </a:lnTo>
                  <a:lnTo>
                    <a:pt x="323889" y="987945"/>
                  </a:lnTo>
                  <a:lnTo>
                    <a:pt x="375173" y="1020501"/>
                  </a:lnTo>
                  <a:lnTo>
                    <a:pt x="385036" y="1044161"/>
                  </a:lnTo>
                  <a:lnTo>
                    <a:pt x="417078" y="1064947"/>
                  </a:lnTo>
                  <a:lnTo>
                    <a:pt x="417078" y="1049334"/>
                  </a:lnTo>
                  <a:lnTo>
                    <a:pt x="433355" y="1039713"/>
                  </a:lnTo>
                  <a:lnTo>
                    <a:pt x="452568" y="1047126"/>
                  </a:lnTo>
                  <a:lnTo>
                    <a:pt x="481402" y="1034539"/>
                  </a:lnTo>
                  <a:lnTo>
                    <a:pt x="499888" y="1047126"/>
                  </a:lnTo>
                  <a:lnTo>
                    <a:pt x="523548" y="1024918"/>
                  </a:lnTo>
                  <a:lnTo>
                    <a:pt x="556829" y="1024918"/>
                  </a:lnTo>
                  <a:lnTo>
                    <a:pt x="572381" y="1004980"/>
                  </a:lnTo>
                  <a:lnTo>
                    <a:pt x="624118" y="993875"/>
                  </a:lnTo>
                  <a:lnTo>
                    <a:pt x="633740" y="1008671"/>
                  </a:lnTo>
                  <a:lnTo>
                    <a:pt x="654465" y="1008671"/>
                  </a:lnTo>
                  <a:lnTo>
                    <a:pt x="681060" y="993119"/>
                  </a:lnTo>
                  <a:lnTo>
                    <a:pt x="769801" y="993119"/>
                  </a:lnTo>
                  <a:lnTo>
                    <a:pt x="783870" y="979837"/>
                  </a:lnTo>
                  <a:lnTo>
                    <a:pt x="811947" y="979837"/>
                  </a:lnTo>
                  <a:lnTo>
                    <a:pt x="832672" y="962077"/>
                  </a:lnTo>
                  <a:lnTo>
                    <a:pt x="849676" y="976115"/>
                  </a:lnTo>
                  <a:lnTo>
                    <a:pt x="922895" y="976115"/>
                  </a:lnTo>
                  <a:lnTo>
                    <a:pt x="944317" y="954694"/>
                  </a:lnTo>
                  <a:lnTo>
                    <a:pt x="944317" y="988702"/>
                  </a:lnTo>
                  <a:lnTo>
                    <a:pt x="1009397" y="1024192"/>
                  </a:lnTo>
                  <a:lnTo>
                    <a:pt x="1022709" y="1008671"/>
                  </a:lnTo>
                  <a:lnTo>
                    <a:pt x="1079651" y="1008671"/>
                  </a:lnTo>
                  <a:lnTo>
                    <a:pt x="1119589" y="1053026"/>
                  </a:lnTo>
                  <a:lnTo>
                    <a:pt x="1132902" y="1028639"/>
                  </a:lnTo>
                  <a:lnTo>
                    <a:pt x="1115898" y="1011605"/>
                  </a:lnTo>
                  <a:lnTo>
                    <a:pt x="1114415" y="976115"/>
                  </a:lnTo>
                  <a:lnTo>
                    <a:pt x="1098138" y="956903"/>
                  </a:lnTo>
                  <a:lnTo>
                    <a:pt x="1100346" y="916239"/>
                  </a:lnTo>
                  <a:lnTo>
                    <a:pt x="1144732" y="881475"/>
                  </a:lnTo>
                  <a:lnTo>
                    <a:pt x="1115141" y="871854"/>
                  </a:lnTo>
                  <a:lnTo>
                    <a:pt x="1114415" y="855576"/>
                  </a:lnTo>
                  <a:lnTo>
                    <a:pt x="1163218" y="823777"/>
                  </a:lnTo>
                  <a:lnTo>
                    <a:pt x="1155079" y="787561"/>
                  </a:lnTo>
                  <a:lnTo>
                    <a:pt x="1141040" y="786078"/>
                  </a:lnTo>
                  <a:lnTo>
                    <a:pt x="1140284" y="752796"/>
                  </a:lnTo>
                  <a:lnTo>
                    <a:pt x="1073751" y="662574"/>
                  </a:lnTo>
                  <a:lnTo>
                    <a:pt x="1029366" y="547964"/>
                  </a:lnTo>
                  <a:lnTo>
                    <a:pt x="1028640" y="516891"/>
                  </a:lnTo>
                  <a:lnTo>
                    <a:pt x="993149" y="494714"/>
                  </a:lnTo>
                  <a:lnTo>
                    <a:pt x="983528" y="474745"/>
                  </a:lnTo>
                  <a:lnTo>
                    <a:pt x="965042" y="494714"/>
                  </a:lnTo>
                  <a:lnTo>
                    <a:pt x="944317" y="467363"/>
                  </a:lnTo>
                  <a:lnTo>
                    <a:pt x="964286" y="433355"/>
                  </a:lnTo>
                  <a:lnTo>
                    <a:pt x="991667" y="434081"/>
                  </a:lnTo>
                  <a:lnTo>
                    <a:pt x="1012362" y="422251"/>
                  </a:lnTo>
                  <a:lnTo>
                    <a:pt x="1013088" y="403765"/>
                  </a:lnTo>
                  <a:lnTo>
                    <a:pt x="1036779" y="403039"/>
                  </a:lnTo>
                  <a:lnTo>
                    <a:pt x="1048609" y="388244"/>
                  </a:lnTo>
                  <a:lnTo>
                    <a:pt x="1078169" y="386005"/>
                  </a:lnTo>
                  <a:lnTo>
                    <a:pt x="1183187" y="298020"/>
                  </a:lnTo>
                  <a:lnTo>
                    <a:pt x="1223124" y="323163"/>
                  </a:lnTo>
                  <a:lnTo>
                    <a:pt x="1265271" y="308368"/>
                  </a:lnTo>
                  <a:lnTo>
                    <a:pt x="1294831" y="313542"/>
                  </a:lnTo>
                  <a:lnTo>
                    <a:pt x="1311109" y="295812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Полилиния: фигура 23">
              <a:extLst>
                <a:ext uri="{FF2B5EF4-FFF2-40B4-BE49-F238E27FC236}">
                  <a16:creationId xmlns:a16="http://schemas.microsoft.com/office/drawing/2014/main" xmlns="" id="{A0D5076E-6574-48E7-8731-AD4EBC04489B}"/>
                </a:ext>
              </a:extLst>
            </p:cNvPr>
            <p:cNvSpPr/>
            <p:nvPr/>
          </p:nvSpPr>
          <p:spPr>
            <a:xfrm>
              <a:off x="5085805" y="2898483"/>
              <a:ext cx="1158800" cy="913728"/>
            </a:xfrm>
            <a:custGeom>
              <a:avLst/>
              <a:gdLst>
                <a:gd name="connsiteX0" fmla="*/ 1117562 w 1158800"/>
                <a:gd name="connsiteY0" fmla="*/ 611351 h 913727"/>
                <a:gd name="connsiteX1" fmla="*/ 1066278 w 1158800"/>
                <a:gd name="connsiteY1" fmla="*/ 578795 h 913727"/>
                <a:gd name="connsiteX2" fmla="*/ 1052482 w 1158800"/>
                <a:gd name="connsiteY2" fmla="*/ 524577 h 913727"/>
                <a:gd name="connsiteX3" fmla="*/ 1017990 w 1158800"/>
                <a:gd name="connsiteY3" fmla="*/ 500917 h 913727"/>
                <a:gd name="connsiteX4" fmla="*/ 1018958 w 1158800"/>
                <a:gd name="connsiteY4" fmla="*/ 476258 h 913727"/>
                <a:gd name="connsiteX5" fmla="*/ 999231 w 1158800"/>
                <a:gd name="connsiteY5" fmla="*/ 442734 h 913727"/>
                <a:gd name="connsiteX6" fmla="*/ 1004163 w 1158800"/>
                <a:gd name="connsiteY6" fmla="*/ 362889 h 913727"/>
                <a:gd name="connsiteX7" fmla="*/ 979534 w 1158800"/>
                <a:gd name="connsiteY7" fmla="*/ 342164 h 913727"/>
                <a:gd name="connsiteX8" fmla="*/ 900657 w 1158800"/>
                <a:gd name="connsiteY8" fmla="*/ 332300 h 913727"/>
                <a:gd name="connsiteX9" fmla="*/ 873034 w 1158800"/>
                <a:gd name="connsiteY9" fmla="*/ 266252 h 913727"/>
                <a:gd name="connsiteX10" fmla="*/ 806985 w 1158800"/>
                <a:gd name="connsiteY10" fmla="*/ 228795 h 913727"/>
                <a:gd name="connsiteX11" fmla="*/ 796123 w 1158800"/>
                <a:gd name="connsiteY11" fmla="*/ 179478 h 913727"/>
                <a:gd name="connsiteX12" fmla="*/ 742389 w 1158800"/>
                <a:gd name="connsiteY12" fmla="*/ 61541 h 913727"/>
                <a:gd name="connsiteX13" fmla="*/ 761269 w 1158800"/>
                <a:gd name="connsiteY13" fmla="*/ 0 h 913727"/>
                <a:gd name="connsiteX14" fmla="*/ 1422 w 1158800"/>
                <a:gd name="connsiteY14" fmla="*/ 114397 h 913727"/>
                <a:gd name="connsiteX15" fmla="*/ 0 w 1158800"/>
                <a:gd name="connsiteY15" fmla="*/ 114488 h 913727"/>
                <a:gd name="connsiteX16" fmla="*/ 11043 w 1158800"/>
                <a:gd name="connsiteY16" fmla="*/ 139540 h 913727"/>
                <a:gd name="connsiteX17" fmla="*/ 33221 w 1158800"/>
                <a:gd name="connsiteY17" fmla="*/ 141023 h 913727"/>
                <a:gd name="connsiteX18" fmla="*/ 31769 w 1158800"/>
                <a:gd name="connsiteY18" fmla="*/ 178752 h 913727"/>
                <a:gd name="connsiteX19" fmla="*/ 144895 w 1158800"/>
                <a:gd name="connsiteY19" fmla="*/ 433869 h 913727"/>
                <a:gd name="connsiteX20" fmla="*/ 156000 w 1158800"/>
                <a:gd name="connsiteY20" fmla="*/ 535922 h 913727"/>
                <a:gd name="connsiteX21" fmla="*/ 117544 w 1158800"/>
                <a:gd name="connsiteY21" fmla="*/ 667536 h 913727"/>
                <a:gd name="connsiteX22" fmla="*/ 129374 w 1158800"/>
                <a:gd name="connsiteY22" fmla="*/ 700817 h 913727"/>
                <a:gd name="connsiteX23" fmla="*/ 218115 w 1158800"/>
                <a:gd name="connsiteY23" fmla="*/ 723751 h 913727"/>
                <a:gd name="connsiteX24" fmla="*/ 255814 w 1158800"/>
                <a:gd name="connsiteY24" fmla="*/ 782175 h 913727"/>
                <a:gd name="connsiteX25" fmla="*/ 261744 w 1158800"/>
                <a:gd name="connsiteY25" fmla="*/ 816183 h 913727"/>
                <a:gd name="connsiteX26" fmla="*/ 334933 w 1158800"/>
                <a:gd name="connsiteY26" fmla="*/ 862020 h 913727"/>
                <a:gd name="connsiteX27" fmla="*/ 390755 w 1158800"/>
                <a:gd name="connsiteY27" fmla="*/ 915331 h 913727"/>
                <a:gd name="connsiteX28" fmla="*/ 397048 w 1158800"/>
                <a:gd name="connsiteY28" fmla="*/ 863503 h 913727"/>
                <a:gd name="connsiteX29" fmla="*/ 417773 w 1158800"/>
                <a:gd name="connsiteY29" fmla="*/ 864259 h 913727"/>
                <a:gd name="connsiteX30" fmla="*/ 402222 w 1158800"/>
                <a:gd name="connsiteY30" fmla="*/ 842808 h 913727"/>
                <a:gd name="connsiteX31" fmla="*/ 426638 w 1158800"/>
                <a:gd name="connsiteY31" fmla="*/ 839843 h 913727"/>
                <a:gd name="connsiteX32" fmla="*/ 439951 w 1158800"/>
                <a:gd name="connsiteY32" fmla="*/ 797696 h 913727"/>
                <a:gd name="connsiteX33" fmla="*/ 470267 w 1158800"/>
                <a:gd name="connsiteY33" fmla="*/ 783658 h 913727"/>
                <a:gd name="connsiteX34" fmla="*/ 490236 w 1158800"/>
                <a:gd name="connsiteY34" fmla="*/ 792523 h 913727"/>
                <a:gd name="connsiteX35" fmla="*/ 533865 w 1158800"/>
                <a:gd name="connsiteY35" fmla="*/ 770345 h 913727"/>
                <a:gd name="connsiteX36" fmla="*/ 578221 w 1158800"/>
                <a:gd name="connsiteY36" fmla="*/ 785110 h 913727"/>
                <a:gd name="connsiteX37" fmla="*/ 593015 w 1158800"/>
                <a:gd name="connsiteY37" fmla="*/ 774036 h 913727"/>
                <a:gd name="connsiteX38" fmla="*/ 614467 w 1158800"/>
                <a:gd name="connsiteY38" fmla="*/ 786592 h 913727"/>
                <a:gd name="connsiteX39" fmla="*/ 666235 w 1158800"/>
                <a:gd name="connsiteY39" fmla="*/ 786592 h 913727"/>
                <a:gd name="connsiteX40" fmla="*/ 698034 w 1158800"/>
                <a:gd name="connsiteY40" fmla="*/ 807318 h 913727"/>
                <a:gd name="connsiteX41" fmla="*/ 734250 w 1158800"/>
                <a:gd name="connsiteY41" fmla="*/ 801388 h 913727"/>
                <a:gd name="connsiteX42" fmla="*/ 780118 w 1158800"/>
                <a:gd name="connsiteY42" fmla="*/ 801388 h 913727"/>
                <a:gd name="connsiteX43" fmla="*/ 780118 w 1158800"/>
                <a:gd name="connsiteY43" fmla="*/ 824321 h 913727"/>
                <a:gd name="connsiteX44" fmla="*/ 815608 w 1158800"/>
                <a:gd name="connsiteY44" fmla="*/ 824321 h 913727"/>
                <a:gd name="connsiteX45" fmla="*/ 796365 w 1158800"/>
                <a:gd name="connsiteY45" fmla="*/ 796214 h 913727"/>
                <a:gd name="connsiteX46" fmla="*/ 796365 w 1158800"/>
                <a:gd name="connsiteY46" fmla="*/ 688261 h 913727"/>
                <a:gd name="connsiteX47" fmla="*/ 856272 w 1158800"/>
                <a:gd name="connsiteY47" fmla="*/ 656462 h 913727"/>
                <a:gd name="connsiteX48" fmla="*/ 856272 w 1158800"/>
                <a:gd name="connsiteY48" fmla="*/ 627598 h 913727"/>
                <a:gd name="connsiteX49" fmla="*/ 873276 w 1158800"/>
                <a:gd name="connsiteY49" fmla="*/ 640184 h 913727"/>
                <a:gd name="connsiteX50" fmla="*/ 896210 w 1158800"/>
                <a:gd name="connsiteY50" fmla="*/ 632802 h 913727"/>
                <a:gd name="connsiteX51" fmla="*/ 896210 w 1158800"/>
                <a:gd name="connsiteY51" fmla="*/ 616524 h 913727"/>
                <a:gd name="connsiteX52" fmla="*/ 958325 w 1158800"/>
                <a:gd name="connsiteY52" fmla="*/ 633528 h 913727"/>
                <a:gd name="connsiteX53" fmla="*/ 988641 w 1158800"/>
                <a:gd name="connsiteY53" fmla="*/ 657944 h 913727"/>
                <a:gd name="connsiteX54" fmla="*/ 1007884 w 1158800"/>
                <a:gd name="connsiteY54" fmla="*/ 652014 h 913727"/>
                <a:gd name="connsiteX55" fmla="*/ 1059622 w 1158800"/>
                <a:gd name="connsiteY55" fmla="*/ 669774 h 913727"/>
                <a:gd name="connsiteX56" fmla="*/ 1159466 w 1158800"/>
                <a:gd name="connsiteY56" fmla="*/ 669774 h 913727"/>
                <a:gd name="connsiteX57" fmla="*/ 1159466 w 1158800"/>
                <a:gd name="connsiteY57" fmla="*/ 655796 h 913727"/>
                <a:gd name="connsiteX58" fmla="*/ 1127425 w 1158800"/>
                <a:gd name="connsiteY58" fmla="*/ 635011 h 913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158800" h="913727">
                  <a:moveTo>
                    <a:pt x="1117562" y="611351"/>
                  </a:moveTo>
                  <a:lnTo>
                    <a:pt x="1066278" y="578795"/>
                  </a:lnTo>
                  <a:lnTo>
                    <a:pt x="1052482" y="524577"/>
                  </a:lnTo>
                  <a:lnTo>
                    <a:pt x="1017990" y="500917"/>
                  </a:lnTo>
                  <a:lnTo>
                    <a:pt x="1018958" y="476258"/>
                  </a:lnTo>
                  <a:lnTo>
                    <a:pt x="999231" y="442734"/>
                  </a:lnTo>
                  <a:lnTo>
                    <a:pt x="1004163" y="362889"/>
                  </a:lnTo>
                  <a:lnTo>
                    <a:pt x="979534" y="342164"/>
                  </a:lnTo>
                  <a:lnTo>
                    <a:pt x="900657" y="332300"/>
                  </a:lnTo>
                  <a:lnTo>
                    <a:pt x="873034" y="266252"/>
                  </a:lnTo>
                  <a:lnTo>
                    <a:pt x="806985" y="228795"/>
                  </a:lnTo>
                  <a:lnTo>
                    <a:pt x="796123" y="179478"/>
                  </a:lnTo>
                  <a:lnTo>
                    <a:pt x="742389" y="61541"/>
                  </a:lnTo>
                  <a:lnTo>
                    <a:pt x="761269" y="0"/>
                  </a:lnTo>
                  <a:lnTo>
                    <a:pt x="1422" y="114397"/>
                  </a:lnTo>
                  <a:lnTo>
                    <a:pt x="0" y="114488"/>
                  </a:lnTo>
                  <a:lnTo>
                    <a:pt x="11043" y="139540"/>
                  </a:lnTo>
                  <a:lnTo>
                    <a:pt x="33221" y="141023"/>
                  </a:lnTo>
                  <a:lnTo>
                    <a:pt x="31769" y="178752"/>
                  </a:lnTo>
                  <a:lnTo>
                    <a:pt x="144895" y="433869"/>
                  </a:lnTo>
                  <a:lnTo>
                    <a:pt x="156000" y="535922"/>
                  </a:lnTo>
                  <a:lnTo>
                    <a:pt x="117544" y="667536"/>
                  </a:lnTo>
                  <a:lnTo>
                    <a:pt x="129374" y="700817"/>
                  </a:lnTo>
                  <a:lnTo>
                    <a:pt x="218115" y="723751"/>
                  </a:lnTo>
                  <a:lnTo>
                    <a:pt x="255814" y="782175"/>
                  </a:lnTo>
                  <a:lnTo>
                    <a:pt x="261744" y="816183"/>
                  </a:lnTo>
                  <a:lnTo>
                    <a:pt x="334933" y="862020"/>
                  </a:lnTo>
                  <a:lnTo>
                    <a:pt x="390755" y="915331"/>
                  </a:lnTo>
                  <a:lnTo>
                    <a:pt x="397048" y="863503"/>
                  </a:lnTo>
                  <a:lnTo>
                    <a:pt x="417773" y="864259"/>
                  </a:lnTo>
                  <a:lnTo>
                    <a:pt x="402222" y="842808"/>
                  </a:lnTo>
                  <a:lnTo>
                    <a:pt x="426638" y="839843"/>
                  </a:lnTo>
                  <a:lnTo>
                    <a:pt x="439951" y="797696"/>
                  </a:lnTo>
                  <a:lnTo>
                    <a:pt x="470267" y="783658"/>
                  </a:lnTo>
                  <a:lnTo>
                    <a:pt x="490236" y="792523"/>
                  </a:lnTo>
                  <a:lnTo>
                    <a:pt x="533865" y="770345"/>
                  </a:lnTo>
                  <a:lnTo>
                    <a:pt x="578221" y="785110"/>
                  </a:lnTo>
                  <a:lnTo>
                    <a:pt x="593015" y="774036"/>
                  </a:lnTo>
                  <a:lnTo>
                    <a:pt x="614467" y="786592"/>
                  </a:lnTo>
                  <a:lnTo>
                    <a:pt x="666235" y="786592"/>
                  </a:lnTo>
                  <a:lnTo>
                    <a:pt x="698034" y="807318"/>
                  </a:lnTo>
                  <a:lnTo>
                    <a:pt x="734250" y="801388"/>
                  </a:lnTo>
                  <a:lnTo>
                    <a:pt x="780118" y="801388"/>
                  </a:lnTo>
                  <a:lnTo>
                    <a:pt x="780118" y="824321"/>
                  </a:lnTo>
                  <a:lnTo>
                    <a:pt x="815608" y="824321"/>
                  </a:lnTo>
                  <a:lnTo>
                    <a:pt x="796365" y="796214"/>
                  </a:lnTo>
                  <a:lnTo>
                    <a:pt x="796365" y="688261"/>
                  </a:lnTo>
                  <a:lnTo>
                    <a:pt x="856272" y="656462"/>
                  </a:lnTo>
                  <a:lnTo>
                    <a:pt x="856272" y="627598"/>
                  </a:lnTo>
                  <a:lnTo>
                    <a:pt x="873276" y="640184"/>
                  </a:lnTo>
                  <a:lnTo>
                    <a:pt x="896210" y="632802"/>
                  </a:lnTo>
                  <a:lnTo>
                    <a:pt x="896210" y="616524"/>
                  </a:lnTo>
                  <a:lnTo>
                    <a:pt x="958325" y="633528"/>
                  </a:lnTo>
                  <a:lnTo>
                    <a:pt x="988641" y="657944"/>
                  </a:lnTo>
                  <a:lnTo>
                    <a:pt x="1007884" y="652014"/>
                  </a:lnTo>
                  <a:lnTo>
                    <a:pt x="1059622" y="669774"/>
                  </a:lnTo>
                  <a:lnTo>
                    <a:pt x="1159466" y="669774"/>
                  </a:lnTo>
                  <a:lnTo>
                    <a:pt x="1159466" y="655796"/>
                  </a:lnTo>
                  <a:lnTo>
                    <a:pt x="1127425" y="635011"/>
                  </a:lnTo>
                  <a:close/>
                </a:path>
              </a:pathLst>
            </a:custGeom>
            <a:solidFill>
              <a:schemeClr val="tx1">
                <a:lumMod val="10000"/>
                <a:lumOff val="90000"/>
              </a:schemeClr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8" name="Овал 117">
            <a:extLst>
              <a:ext uri="{FF2B5EF4-FFF2-40B4-BE49-F238E27FC236}">
                <a16:creationId xmlns:a16="http://schemas.microsoft.com/office/drawing/2014/main" xmlns="" id="{C906FE51-58D6-4EC8-89F0-D822F567CE8B}"/>
              </a:ext>
            </a:extLst>
          </p:cNvPr>
          <p:cNvSpPr/>
          <p:nvPr/>
        </p:nvSpPr>
        <p:spPr bwMode="auto">
          <a:xfrm>
            <a:off x="589978" y="2035277"/>
            <a:ext cx="84188" cy="841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19" name="Picture 3" descr="C:\Users\Садвакас\Desktop\КазАгро\Презентации\06092019\2.png">
            <a:extLst>
              <a:ext uri="{FF2B5EF4-FFF2-40B4-BE49-F238E27FC236}">
                <a16:creationId xmlns:a16="http://schemas.microsoft.com/office/drawing/2014/main" xmlns="" id="{E84BF1BD-CDB7-4F31-A126-8A2379F88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7730" y="977184"/>
            <a:ext cx="955009" cy="715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Прямоугольник 122"/>
          <p:cNvSpPr/>
          <p:nvPr/>
        </p:nvSpPr>
        <p:spPr>
          <a:xfrm>
            <a:off x="2959411" y="837607"/>
            <a:ext cx="5051178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kk-KZ" sz="1700" b="1" dirty="0" smtClean="0">
                <a:solidFill>
                  <a:srgbClr val="00518E"/>
                </a:solidFill>
              </a:rPr>
              <a:t>В НАСТОЯЩЕЕ ВРЕМЯ ФУНКЦИОНИРУЮТ</a:t>
            </a:r>
            <a:endParaRPr lang="ru-RU" sz="1700" b="1" dirty="0">
              <a:solidFill>
                <a:srgbClr val="00518E"/>
              </a:solidFill>
            </a:endParaRPr>
          </a:p>
        </p:txBody>
      </p:sp>
      <p:sp>
        <p:nvSpPr>
          <p:cNvPr id="126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87753" y="-1209165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7" name="Rectangle 24">
            <a:extLst>
              <a:ext uri="{FF2B5EF4-FFF2-40B4-BE49-F238E27FC236}">
                <a16:creationId xmlns:a16="http://schemas.microsoft.com/office/drawing/2014/main" xmlns="" id="{BE978A03-E1E4-4573-8FAE-093A5606C8D9}"/>
              </a:ext>
            </a:extLst>
          </p:cNvPr>
          <p:cNvSpPr/>
          <p:nvPr/>
        </p:nvSpPr>
        <p:spPr>
          <a:xfrm rot="16200000" flipH="1">
            <a:off x="5349670" y="-1597089"/>
            <a:ext cx="45719" cy="4767904"/>
          </a:xfrm>
          <a:prstGeom prst="rect">
            <a:avLst/>
          </a:prstGeom>
          <a:pattFill prst="dkUpDiag">
            <a:fgClr>
              <a:srgbClr val="95C7F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3444194" y="1321657"/>
            <a:ext cx="5673430" cy="674029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400" dirty="0" smtClean="0"/>
              <a:t> 4 САХАРНЫХ ЗАВОДА ОБЩЕЙ МОЩНОСТЬЮ 8 ТЫС. ТОНН В СУТКИ ПО ПЕРЕРАБОТКЕ САХАРНОЙ СВЕКЛЫ И 2 ТЫС. ТОНН ПО ТРОСТНИКОВОМУ САХАРНОМУ СЫРЬЮ </a:t>
            </a:r>
            <a:endParaRPr lang="ru-RU" sz="1400" b="1" dirty="0">
              <a:solidFill>
                <a:srgbClr val="00518E"/>
              </a:solidFill>
            </a:endParaRPr>
          </a:p>
        </p:txBody>
      </p:sp>
      <p:sp>
        <p:nvSpPr>
          <p:cNvPr id="138" name="Oval 234">
            <a:extLst>
              <a:ext uri="{FF2B5EF4-FFF2-40B4-BE49-F238E27FC236}">
                <a16:creationId xmlns="" xmlns:a16="http://schemas.microsoft.com/office/drawing/2014/main" id="{76F2DD20-F1A3-46E7-AE4C-332003E07E64}"/>
              </a:ext>
            </a:extLst>
          </p:cNvPr>
          <p:cNvSpPr/>
          <p:nvPr/>
        </p:nvSpPr>
        <p:spPr bwMode="gray">
          <a:xfrm>
            <a:off x="2627784" y="754881"/>
            <a:ext cx="490659" cy="461982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rgbClr val="00518E"/>
            </a:solidFill>
            <a:prstDash val="solid"/>
          </a:ln>
          <a:effectLst/>
        </p:spPr>
        <p:txBody>
          <a:bodyPr rot="0" spcFirstLastPara="0" vertOverflow="overflow" horzOverflow="overflow" vert="horz" wrap="square" lIns="67211" tIns="33605" rIns="67211" bIns="3360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600" kern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140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3155433" y="132844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145" name="Прямая соединительная линия 144"/>
          <p:cNvCxnSpPr/>
          <p:nvPr/>
        </p:nvCxnSpPr>
        <p:spPr>
          <a:xfrm>
            <a:off x="2887403" y="1197647"/>
            <a:ext cx="0" cy="29957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2871961" y="1460796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/>
          <p:cNvSpPr/>
          <p:nvPr/>
        </p:nvSpPr>
        <p:spPr>
          <a:xfrm>
            <a:off x="26947" y="2342516"/>
            <a:ext cx="5791917" cy="3277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700" b="1" dirty="0" smtClean="0">
                <a:solidFill>
                  <a:srgbClr val="00518E"/>
                </a:solidFill>
              </a:rPr>
              <a:t>РАБОТА ПО ПРИВЛЕЧЕНИЮ ИНВЕСТИЦИИ </a:t>
            </a:r>
            <a:endParaRPr lang="ru-RU" sz="1700" b="1" dirty="0">
              <a:solidFill>
                <a:srgbClr val="00518E"/>
              </a:solidFill>
            </a:endParaRPr>
          </a:p>
        </p:txBody>
      </p:sp>
      <p:cxnSp>
        <p:nvCxnSpPr>
          <p:cNvPr id="152" name="Прямая соединительная линия 151">
            <a:extLst>
              <a:ext uri="{FF2B5EF4-FFF2-40B4-BE49-F238E27FC236}">
                <a16:creationId xmlns="" xmlns:a16="http://schemas.microsoft.com/office/drawing/2014/main" id="{B7664707-4A93-441F-801E-49D5018EAB53}"/>
              </a:ext>
            </a:extLst>
          </p:cNvPr>
          <p:cNvCxnSpPr>
            <a:cxnSpLocks/>
          </p:cNvCxnSpPr>
          <p:nvPr/>
        </p:nvCxnSpPr>
        <p:spPr>
          <a:xfrm>
            <a:off x="198567" y="2115344"/>
            <a:ext cx="8590275" cy="24358"/>
          </a:xfrm>
          <a:prstGeom prst="line">
            <a:avLst/>
          </a:prstGeom>
          <a:ln w="28575">
            <a:solidFill>
              <a:schemeClr val="tx2">
                <a:lumMod val="50000"/>
                <a:lumOff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2803973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/>
              <a:t>УЧИТЫВАЯ ДОСТАТОЧНОЕ КОЛИЧЕСТВО ОРОШАЕМЫХ ЗЕМЕЛЬ И ПОДХОДЯЩИЕ </a:t>
            </a:r>
            <a:r>
              <a:rPr lang="ru-RU" sz="1200" dirty="0" smtClean="0"/>
              <a:t>ПРИРОДНО-КЛИМАТИЧЕСКИЕ </a:t>
            </a:r>
            <a:r>
              <a:rPr lang="ru-RU" sz="1200" dirty="0"/>
              <a:t>УСЛОВИЯ РАССМАТРИВАЕТСЯ СТРОИТЕЛЬСТВО НОВОГО САХАРНОГО ЗАВОДА В ПАВЛОДАРСКОЙ ОБЛАСТИ.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15829" y="2957387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2785839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58737" y="3300207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/>
              <a:t>ВЕДУТСЯ ПЕРЕГОВОРЫ С ЗАРУБЕЖНЫМИ КОМПАНИЯМИ: CALIK HOLDING, SA GROUP, CHAMPION FOODS, MURBAN, РУСАГРО, INOKS CAPITAL ПО СТРОИТЕЛЬСТВУ НОВОГО САХАРНОГО ЗАВОДА</a:t>
            </a:r>
            <a:endParaRPr lang="ru-RU" sz="1200" b="1" dirty="0">
              <a:solidFill>
                <a:srgbClr val="00518E"/>
              </a:solidFill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615829" y="3453621"/>
            <a:ext cx="304204" cy="2267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28511" y="3282073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F49986B6-B377-4C44-B5F1-4D238670FE56}"/>
              </a:ext>
            </a:extLst>
          </p:cNvPr>
          <p:cNvSpPr txBox="1"/>
          <p:nvPr/>
        </p:nvSpPr>
        <p:spPr>
          <a:xfrm>
            <a:off x="1062636" y="4016840"/>
            <a:ext cx="7903441" cy="424730"/>
          </a:xfrm>
          <a:prstGeom prst="rect">
            <a:avLst/>
          </a:prstGeom>
          <a:noFill/>
        </p:spPr>
        <p:txBody>
          <a:bodyPr wrap="square" lIns="91438" tIns="45719" rIns="91438" bIns="45719">
            <a:spAutoFit/>
          </a:bodyPr>
          <a:lstStyle/>
          <a:p>
            <a:pPr marL="0" lvl="1" indent="0" algn="just" defTabSz="666734">
              <a:lnSpc>
                <a:spcPct val="90000"/>
              </a:lnSpc>
              <a:spcAft>
                <a:spcPct val="15000"/>
              </a:spcAft>
              <a:defRPr/>
            </a:pPr>
            <a:r>
              <a:rPr lang="ru-RU" sz="1200" dirty="0"/>
              <a:t>В 2019-2021 ГГ. ПРОВОДИЛИСЬ ЭКСПЕРИМЕНТАЛЬНЫЕ ОПЫТНЫЕ ПОСЕВЫ В 3 ХОЗЯЙСТВАХ, САХАРИСТОСТЬ СВЕКЛЫ СОСТАВИЛА НА УРОВНЕ 14%</a:t>
            </a:r>
            <a:endParaRPr lang="ru-RU" sz="1200" b="1" dirty="0">
              <a:solidFill>
                <a:srgbClr val="00518E"/>
              </a:solidFill>
            </a:endParaRPr>
          </a:p>
        </p:txBody>
      </p:sp>
      <p:sp>
        <p:nvSpPr>
          <p:cNvPr id="49" name="Sev01">
            <a:extLst>
              <a:ext uri="{FF2B5EF4-FFF2-40B4-BE49-F238E27FC236}">
                <a16:creationId xmlns="" xmlns:a16="http://schemas.microsoft.com/office/drawing/2014/main" id="{FF12124F-8D64-459E-80F0-0F502F5D1A25}"/>
              </a:ext>
            </a:extLst>
          </p:cNvPr>
          <p:cNvSpPr>
            <a:spLocks noChangeAspect="1"/>
          </p:cNvSpPr>
          <p:nvPr/>
        </p:nvSpPr>
        <p:spPr>
          <a:xfrm>
            <a:off x="732410" y="3998706"/>
            <a:ext cx="330226" cy="330226"/>
          </a:xfrm>
          <a:prstGeom prst="ellipse">
            <a:avLst/>
          </a:prstGeom>
          <a:solidFill>
            <a:srgbClr val="00518E"/>
          </a:solid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b="1" dirty="0">
              <a:solidFill>
                <a:srgbClr val="00518E"/>
              </a:solidFill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 flipH="1">
            <a:off x="608521" y="2966279"/>
            <a:ext cx="2" cy="1204445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4345283"/>
      </p:ext>
    </p:extLst>
  </p:cSld>
  <p:clrMapOvr>
    <a:masterClrMapping/>
  </p:clrMapOvr>
  <p:transition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heme/theme1.xml><?xml version="1.0" encoding="utf-8"?>
<a:theme xmlns:a="http://schemas.openxmlformats.org/drawingml/2006/main" name="Office Theme">
  <a:themeElements>
    <a:clrScheme name="02_Theme02">
      <a:dk1>
        <a:srgbClr val="262626"/>
      </a:dk1>
      <a:lt1>
        <a:srgbClr val="FFFFFF"/>
      </a:lt1>
      <a:dk2>
        <a:srgbClr val="262626"/>
      </a:dk2>
      <a:lt2>
        <a:srgbClr val="FFFFFF"/>
      </a:lt2>
      <a:accent1>
        <a:srgbClr val="007D6B"/>
      </a:accent1>
      <a:accent2>
        <a:srgbClr val="31A050"/>
      </a:accent2>
      <a:accent3>
        <a:srgbClr val="7CAE3D"/>
      </a:accent3>
      <a:accent4>
        <a:srgbClr val="B1C514"/>
      </a:accent4>
      <a:accent5>
        <a:srgbClr val="72A238"/>
      </a:accent5>
      <a:accent6>
        <a:srgbClr val="319F50"/>
      </a:accent6>
      <a:hlink>
        <a:srgbClr val="FFFFFF"/>
      </a:hlink>
      <a:folHlink>
        <a:srgbClr val="595959"/>
      </a:folHlink>
    </a:clrScheme>
    <a:fontScheme name="Другая 5">
      <a:majorFont>
        <a:latin typeface="Roboto Medium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9050">
          <a:noFill/>
          <a:round/>
          <a:headEnd/>
          <a:tailEnd/>
        </a:ln>
      </a:spPr>
      <a:bodyPr vert="horz" wrap="none" lIns="91440" tIns="45720" rIns="91440" bIns="45720" numCol="1" rtlCol="0" anchor="ctr" anchorCtr="1" compatLnSpc="1">
        <a:prstTxWarp prst="textNoShape">
          <a:avLst/>
        </a:prstTxWarp>
      </a:bodyPr>
      <a:lstStyle>
        <a:defPPr algn="ctr">
          <a:defRPr sz="1200" b="1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265</TotalTime>
  <Words>1092</Words>
  <Application>Microsoft Office PowerPoint</Application>
  <PresentationFormat>Экран (16:9)</PresentationFormat>
  <Paragraphs>206</Paragraphs>
  <Slides>1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Arial Narrow</vt:lpstr>
      <vt:lpstr>Calibri</vt:lpstr>
      <vt:lpstr>Century Gothic</vt:lpstr>
      <vt:lpstr>ＭＳ Ｐゴシック</vt:lpstr>
      <vt:lpstr>Roboto Condensed</vt:lpstr>
      <vt:lpstr>Roboto Medium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Enjoy My Fine Releases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e</dc:creator>
  <cp:lastModifiedBy>Windows</cp:lastModifiedBy>
  <cp:revision>3918</cp:revision>
  <cp:lastPrinted>2023-01-10T10:52:54Z</cp:lastPrinted>
  <dcterms:created xsi:type="dcterms:W3CDTF">2015-02-17T10:28:40Z</dcterms:created>
  <dcterms:modified xsi:type="dcterms:W3CDTF">2023-06-08T18:37:03Z</dcterms:modified>
</cp:coreProperties>
</file>